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3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4.xml" ContentType="application/vnd.openxmlformats-officedocument.them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theme/theme5.xml" ContentType="application/vnd.openxmlformats-officedocument.theme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theme/theme6.xml" ContentType="application/vnd.openxmlformats-officedocument.theme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heme/theme7.xml" ContentType="application/vnd.openxmlformats-officedocument.theme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theme/theme8.xml" ContentType="application/vnd.openxmlformats-officedocument.theme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801" r:id="rId5"/>
    <p:sldMasterId id="2147483881" r:id="rId6"/>
    <p:sldMasterId id="2147483961" r:id="rId7"/>
    <p:sldMasterId id="2147484081" r:id="rId8"/>
    <p:sldMasterId id="2147484212" r:id="rId9"/>
    <p:sldMasterId id="2147484291" r:id="rId10"/>
    <p:sldMasterId id="2147484371" r:id="rId11"/>
  </p:sldMasterIdLst>
  <p:notesMasterIdLst>
    <p:notesMasterId r:id="rId32"/>
  </p:notesMasterIdLst>
  <p:sldIdLst>
    <p:sldId id="688" r:id="rId12"/>
    <p:sldId id="647" r:id="rId13"/>
    <p:sldId id="847" r:id="rId14"/>
    <p:sldId id="812" r:id="rId15"/>
    <p:sldId id="885" r:id="rId16"/>
    <p:sldId id="850" r:id="rId17"/>
    <p:sldId id="851" r:id="rId18"/>
    <p:sldId id="852" r:id="rId19"/>
    <p:sldId id="853" r:id="rId20"/>
    <p:sldId id="884" r:id="rId21"/>
    <p:sldId id="881" r:id="rId22"/>
    <p:sldId id="882" r:id="rId23"/>
    <p:sldId id="883" r:id="rId24"/>
    <p:sldId id="880" r:id="rId25"/>
    <p:sldId id="866" r:id="rId26"/>
    <p:sldId id="858" r:id="rId27"/>
    <p:sldId id="874" r:id="rId28"/>
    <p:sldId id="878" r:id="rId29"/>
    <p:sldId id="871" r:id="rId30"/>
    <p:sldId id="759" r:id="rId31"/>
  </p:sldIdLst>
  <p:sldSz cx="12192000" cy="6858000"/>
  <p:notesSz cx="6858000" cy="914400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66FDA-214A-41D6-A11F-E718AA3E0F67}">
          <p14:sldIdLst>
            <p14:sldId id="688"/>
            <p14:sldId id="647"/>
            <p14:sldId id="847"/>
            <p14:sldId id="812"/>
            <p14:sldId id="885"/>
            <p14:sldId id="850"/>
            <p14:sldId id="851"/>
            <p14:sldId id="852"/>
            <p14:sldId id="853"/>
            <p14:sldId id="884"/>
            <p14:sldId id="881"/>
            <p14:sldId id="882"/>
            <p14:sldId id="883"/>
            <p14:sldId id="880"/>
            <p14:sldId id="866"/>
            <p14:sldId id="858"/>
            <p14:sldId id="874"/>
            <p14:sldId id="878"/>
            <p14:sldId id="871"/>
            <p14:sldId id="7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37">
          <p15:clr>
            <a:srgbClr val="A4A3A4"/>
          </p15:clr>
        </p15:guide>
        <p15:guide id="4" orient="horz" pos="858">
          <p15:clr>
            <a:srgbClr val="A4A3A4"/>
          </p15:clr>
        </p15:guide>
        <p15:guide id="5" orient="horz" pos="3945">
          <p15:clr>
            <a:srgbClr val="A4A3A4"/>
          </p15:clr>
        </p15:guide>
        <p15:guide id="6" orient="horz" pos="383">
          <p15:clr>
            <a:srgbClr val="A4A3A4"/>
          </p15:clr>
        </p15:guide>
        <p15:guide id="7" pos="456">
          <p15:clr>
            <a:srgbClr val="A4A3A4"/>
          </p15:clr>
        </p15:guide>
        <p15:guide id="8" pos="729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jay Khandelwal" initials="AK" lastIdx="3" clrIdx="0"/>
  <p:cmAuthor id="1" name="Misha Pawan" initials="MP" lastIdx="1" clrIdx="1">
    <p:extLst>
      <p:ext uri="{19B8F6BF-5375-455C-9EA6-DF929625EA0E}">
        <p15:presenceInfo xmlns:p15="http://schemas.microsoft.com/office/powerpoint/2012/main" userId="S-1-5-21-743821889-744086516-2536143515-269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7D3C"/>
    <a:srgbClr val="1F468D"/>
    <a:srgbClr val="828282"/>
    <a:srgbClr val="2E2B27"/>
    <a:srgbClr val="F15B2A"/>
    <a:srgbClr val="7B7B7B"/>
    <a:srgbClr val="F7F7F7"/>
    <a:srgbClr val="C7C8CA"/>
    <a:srgbClr val="C1C1C1"/>
    <a:srgbClr val="C6C6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836CD0-9820-4AFF-A466-956E3DC68E06}" v="1" dt="2021-01-14T08:54:40.132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19" autoAdjust="0"/>
    <p:restoredTop sz="88017" autoAdjust="0"/>
  </p:normalViewPr>
  <p:slideViewPr>
    <p:cSldViewPr snapToGrid="0">
      <p:cViewPr varScale="1">
        <p:scale>
          <a:sx n="73" d="100"/>
          <a:sy n="73" d="100"/>
        </p:scale>
        <p:origin x="552" y="78"/>
      </p:cViewPr>
      <p:guideLst>
        <p:guide orient="horz" pos="2160"/>
        <p:guide pos="3840"/>
        <p:guide orient="horz" pos="637"/>
        <p:guide orient="horz" pos="858"/>
        <p:guide orient="horz" pos="3945"/>
        <p:guide orient="horz" pos="383"/>
        <p:guide pos="456"/>
        <p:guide pos="729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presProps" Target="presProps.xml"/><Relationship Id="rId55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viewProps" Target="viewProps.xml"/><Relationship Id="rId56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pul Sood" userId="S::vipul.sood@igtsolutions.com::20f1083f-af22-4c92-9c88-46b96b8e31a7" providerId="AD" clId="Web-{93836CD0-9820-4AFF-A466-956E3DC68E06}"/>
    <pc:docChg chg="delSld modSection">
      <pc:chgData name="Vipul Sood" userId="S::vipul.sood@igtsolutions.com::20f1083f-af22-4c92-9c88-46b96b8e31a7" providerId="AD" clId="Web-{93836CD0-9820-4AFF-A466-956E3DC68E06}" dt="2021-01-14T08:54:40.132" v="0"/>
      <pc:docMkLst>
        <pc:docMk/>
      </pc:docMkLst>
      <pc:sldChg chg="del">
        <pc:chgData name="Vipul Sood" userId="S::vipul.sood@igtsolutions.com::20f1083f-af22-4c92-9c88-46b96b8e31a7" providerId="AD" clId="Web-{93836CD0-9820-4AFF-A466-956E3DC68E06}" dt="2021-01-14T08:54:40.132" v="0"/>
        <pc:sldMkLst>
          <pc:docMk/>
          <pc:sldMk cId="2616728799" sldId="779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image" Target="../media/image121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image" Target="../media/image12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FC1737-FE39-4E4F-BCDB-A553A6FA4630}" type="doc">
      <dgm:prSet loTypeId="urn:microsoft.com/office/officeart/2005/8/layout/hProcess10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5C0137C-27D4-47CF-821E-9CBD2B79FBF1}">
      <dgm:prSet phldrT="[Text]"/>
      <dgm:spPr/>
      <dgm:t>
        <a:bodyPr/>
        <a:lstStyle/>
        <a:p>
          <a:r>
            <a:rPr lang="en-US" dirty="0" smtClean="0"/>
            <a:t>Risk Profiling</a:t>
          </a:r>
          <a:endParaRPr lang="en-US" dirty="0"/>
        </a:p>
      </dgm:t>
    </dgm:pt>
    <dgm:pt modelId="{300F782F-2117-4B98-8141-905E76A024EA}" type="parTrans" cxnId="{1D2D7AEE-CFE5-49FD-A85C-168B97A2FC86}">
      <dgm:prSet/>
      <dgm:spPr/>
      <dgm:t>
        <a:bodyPr/>
        <a:lstStyle/>
        <a:p>
          <a:endParaRPr lang="en-US"/>
        </a:p>
      </dgm:t>
    </dgm:pt>
    <dgm:pt modelId="{174A2F52-9109-4C38-AFEB-2B3E4272B238}" type="sibTrans" cxnId="{1D2D7AEE-CFE5-49FD-A85C-168B97A2FC86}">
      <dgm:prSet/>
      <dgm:spPr/>
      <dgm:t>
        <a:bodyPr/>
        <a:lstStyle/>
        <a:p>
          <a:endParaRPr lang="en-US"/>
        </a:p>
      </dgm:t>
    </dgm:pt>
    <dgm:pt modelId="{2C72EFB5-470A-4798-9795-E3DAD2D61769}">
      <dgm:prSet phldrT="[Text]"/>
      <dgm:spPr/>
      <dgm:t>
        <a:bodyPr/>
        <a:lstStyle/>
        <a:p>
          <a:r>
            <a:rPr lang="en-US" dirty="0" smtClean="0"/>
            <a:t>Identifying Risk</a:t>
          </a:r>
          <a:endParaRPr lang="en-US" dirty="0"/>
        </a:p>
      </dgm:t>
    </dgm:pt>
    <dgm:pt modelId="{7011CAAA-E072-4ADD-BBE4-5ABB9AF01AB2}" type="parTrans" cxnId="{786BE117-4ED9-4192-AC56-526BF426E29F}">
      <dgm:prSet/>
      <dgm:spPr/>
      <dgm:t>
        <a:bodyPr/>
        <a:lstStyle/>
        <a:p>
          <a:endParaRPr lang="en-US"/>
        </a:p>
      </dgm:t>
    </dgm:pt>
    <dgm:pt modelId="{B69BF00E-8FC9-4A0B-BEAD-57FF8793DA6B}" type="sibTrans" cxnId="{786BE117-4ED9-4192-AC56-526BF426E29F}">
      <dgm:prSet/>
      <dgm:spPr/>
      <dgm:t>
        <a:bodyPr/>
        <a:lstStyle/>
        <a:p>
          <a:endParaRPr lang="en-US"/>
        </a:p>
      </dgm:t>
    </dgm:pt>
    <dgm:pt modelId="{C36E3217-A3ED-4C08-956F-991768588E70}">
      <dgm:prSet phldrT="[Text]"/>
      <dgm:spPr/>
      <dgm:t>
        <a:bodyPr/>
        <a:lstStyle/>
        <a:p>
          <a:r>
            <a:rPr lang="en-US" dirty="0" smtClean="0"/>
            <a:t>Categorization</a:t>
          </a:r>
          <a:endParaRPr lang="en-US" dirty="0"/>
        </a:p>
      </dgm:t>
    </dgm:pt>
    <dgm:pt modelId="{53E23572-7C0D-481E-B75D-D57B4802BBBC}" type="parTrans" cxnId="{932A25C3-B877-4F28-AAA4-47923167F106}">
      <dgm:prSet/>
      <dgm:spPr/>
      <dgm:t>
        <a:bodyPr/>
        <a:lstStyle/>
        <a:p>
          <a:endParaRPr lang="en-US"/>
        </a:p>
      </dgm:t>
    </dgm:pt>
    <dgm:pt modelId="{6AB06B17-3FCF-453C-8D29-F52218323BB8}" type="sibTrans" cxnId="{932A25C3-B877-4F28-AAA4-47923167F106}">
      <dgm:prSet/>
      <dgm:spPr/>
      <dgm:t>
        <a:bodyPr/>
        <a:lstStyle/>
        <a:p>
          <a:endParaRPr lang="en-US"/>
        </a:p>
      </dgm:t>
    </dgm:pt>
    <dgm:pt modelId="{53B4EFED-AA7B-44C5-AB38-C4B274D4B74D}">
      <dgm:prSet phldrT="[Text]"/>
      <dgm:spPr/>
      <dgm:t>
        <a:bodyPr/>
        <a:lstStyle/>
        <a:p>
          <a:r>
            <a:rPr lang="en-US" dirty="0" smtClean="0"/>
            <a:t>Probability</a:t>
          </a:r>
          <a:endParaRPr lang="en-US" dirty="0"/>
        </a:p>
      </dgm:t>
    </dgm:pt>
    <dgm:pt modelId="{7272E234-D71F-41B4-8756-0725FBD31200}" type="parTrans" cxnId="{F14BB125-70C7-41EC-9B87-EF77C69CCE34}">
      <dgm:prSet/>
      <dgm:spPr/>
      <dgm:t>
        <a:bodyPr/>
        <a:lstStyle/>
        <a:p>
          <a:endParaRPr lang="en-US"/>
        </a:p>
      </dgm:t>
    </dgm:pt>
    <dgm:pt modelId="{BDAE0F6B-711C-4647-8D42-A1C9C3BCF156}" type="sibTrans" cxnId="{F14BB125-70C7-41EC-9B87-EF77C69CCE34}">
      <dgm:prSet/>
      <dgm:spPr/>
      <dgm:t>
        <a:bodyPr/>
        <a:lstStyle/>
        <a:p>
          <a:endParaRPr lang="en-US"/>
        </a:p>
      </dgm:t>
    </dgm:pt>
    <dgm:pt modelId="{DD4F1087-A165-4A20-A6AC-1F8C492E3D93}">
      <dgm:prSet phldrT="[Text]"/>
      <dgm:spPr/>
      <dgm:t>
        <a:bodyPr/>
        <a:lstStyle/>
        <a:p>
          <a:r>
            <a:rPr lang="en-US" dirty="0" smtClean="0"/>
            <a:t>Frequency</a:t>
          </a:r>
          <a:endParaRPr lang="en-US" dirty="0"/>
        </a:p>
      </dgm:t>
    </dgm:pt>
    <dgm:pt modelId="{3545FECA-4FB5-48ED-826D-F8B887394A85}" type="parTrans" cxnId="{D15DE783-6E22-47F7-B86C-4389CFE58227}">
      <dgm:prSet/>
      <dgm:spPr/>
      <dgm:t>
        <a:bodyPr/>
        <a:lstStyle/>
        <a:p>
          <a:endParaRPr lang="en-US"/>
        </a:p>
      </dgm:t>
    </dgm:pt>
    <dgm:pt modelId="{DCA4CDCC-8117-4F7A-9D4D-68A5FBD35536}" type="sibTrans" cxnId="{D15DE783-6E22-47F7-B86C-4389CFE58227}">
      <dgm:prSet/>
      <dgm:spPr/>
      <dgm:t>
        <a:bodyPr/>
        <a:lstStyle/>
        <a:p>
          <a:endParaRPr lang="en-US"/>
        </a:p>
      </dgm:t>
    </dgm:pt>
    <dgm:pt modelId="{7BED8F84-DCDF-416C-9846-E1EBF064D606}">
      <dgm:prSet phldrT="[Text]"/>
      <dgm:spPr/>
      <dgm:t>
        <a:bodyPr/>
        <a:lstStyle/>
        <a:p>
          <a:r>
            <a:rPr lang="en-US" dirty="0" smtClean="0"/>
            <a:t>Occurrences </a:t>
          </a:r>
          <a:endParaRPr lang="en-US" dirty="0"/>
        </a:p>
      </dgm:t>
    </dgm:pt>
    <dgm:pt modelId="{7F8DDFEF-8BB7-4C9A-A5FD-F258CFB3A9CD}" type="parTrans" cxnId="{32520878-341B-42E3-95BA-07E0B6FE0730}">
      <dgm:prSet/>
      <dgm:spPr/>
      <dgm:t>
        <a:bodyPr/>
        <a:lstStyle/>
        <a:p>
          <a:endParaRPr lang="en-US"/>
        </a:p>
      </dgm:t>
    </dgm:pt>
    <dgm:pt modelId="{D985B8C9-26A3-4DBA-BD9C-8BAB56C87B37}" type="sibTrans" cxnId="{32520878-341B-42E3-95BA-07E0B6FE0730}">
      <dgm:prSet/>
      <dgm:spPr/>
      <dgm:t>
        <a:bodyPr/>
        <a:lstStyle/>
        <a:p>
          <a:endParaRPr lang="en-US"/>
        </a:p>
      </dgm:t>
    </dgm:pt>
    <dgm:pt modelId="{0CC9C1A2-9D9D-4166-8DA7-A79D568C38A8}">
      <dgm:prSet phldrT="[Text]"/>
      <dgm:spPr/>
      <dgm:t>
        <a:bodyPr/>
        <a:lstStyle/>
        <a:p>
          <a:r>
            <a:rPr lang="en-US" dirty="0" smtClean="0"/>
            <a:t>Impact Analysis</a:t>
          </a:r>
          <a:endParaRPr lang="en-US" dirty="0"/>
        </a:p>
      </dgm:t>
    </dgm:pt>
    <dgm:pt modelId="{A3C21C5F-EEEF-4A39-9974-686F82891ABE}" type="parTrans" cxnId="{EE098D17-C5B9-4E13-A07B-AED918B40595}">
      <dgm:prSet/>
      <dgm:spPr/>
      <dgm:t>
        <a:bodyPr/>
        <a:lstStyle/>
        <a:p>
          <a:endParaRPr lang="en-US"/>
        </a:p>
      </dgm:t>
    </dgm:pt>
    <dgm:pt modelId="{70BA8944-2387-464A-AC11-D0E4619B445D}" type="sibTrans" cxnId="{EE098D17-C5B9-4E13-A07B-AED918B40595}">
      <dgm:prSet/>
      <dgm:spPr/>
      <dgm:t>
        <a:bodyPr/>
        <a:lstStyle/>
        <a:p>
          <a:endParaRPr lang="en-US"/>
        </a:p>
      </dgm:t>
    </dgm:pt>
    <dgm:pt modelId="{8E857FD7-BF58-4254-ADD3-6EA7B1A7B1C8}">
      <dgm:prSet phldrT="[Text]"/>
      <dgm:spPr/>
      <dgm:t>
        <a:bodyPr/>
        <a:lstStyle/>
        <a:p>
          <a:r>
            <a:rPr lang="en-US" dirty="0" smtClean="0"/>
            <a:t>Risk Weightage </a:t>
          </a:r>
          <a:endParaRPr lang="en-US" dirty="0"/>
        </a:p>
      </dgm:t>
    </dgm:pt>
    <dgm:pt modelId="{E4DAA4D1-BACF-45B3-B3D1-A79628E14E01}" type="parTrans" cxnId="{11E8E0AB-1EA0-4606-BFBD-9A7A54670359}">
      <dgm:prSet/>
      <dgm:spPr/>
      <dgm:t>
        <a:bodyPr/>
        <a:lstStyle/>
        <a:p>
          <a:endParaRPr lang="en-US"/>
        </a:p>
      </dgm:t>
    </dgm:pt>
    <dgm:pt modelId="{6961FF35-F8E8-4D0E-B09C-C95752222A1A}" type="sibTrans" cxnId="{11E8E0AB-1EA0-4606-BFBD-9A7A54670359}">
      <dgm:prSet/>
      <dgm:spPr/>
      <dgm:t>
        <a:bodyPr/>
        <a:lstStyle/>
        <a:p>
          <a:endParaRPr lang="en-US"/>
        </a:p>
      </dgm:t>
    </dgm:pt>
    <dgm:pt modelId="{DF3A2A63-AE54-4B3D-839B-4990187AE9D3}">
      <dgm:prSet phldrT="[Text]"/>
      <dgm:spPr/>
      <dgm:t>
        <a:bodyPr/>
        <a:lstStyle/>
        <a:p>
          <a:r>
            <a:rPr lang="en-US" dirty="0" smtClean="0"/>
            <a:t>Impact Score</a:t>
          </a:r>
          <a:endParaRPr lang="en-US" dirty="0"/>
        </a:p>
      </dgm:t>
    </dgm:pt>
    <dgm:pt modelId="{31C1FFC6-10C6-4288-BCBC-3F532A8DBED0}" type="parTrans" cxnId="{988DEBE2-0362-4B12-ADE9-7449EDF012CF}">
      <dgm:prSet/>
      <dgm:spPr/>
      <dgm:t>
        <a:bodyPr/>
        <a:lstStyle/>
        <a:p>
          <a:endParaRPr lang="en-US"/>
        </a:p>
      </dgm:t>
    </dgm:pt>
    <dgm:pt modelId="{C360DDA5-3E4A-492E-BAF9-110E45E84AF9}" type="sibTrans" cxnId="{988DEBE2-0362-4B12-ADE9-7449EDF012CF}">
      <dgm:prSet/>
      <dgm:spPr/>
      <dgm:t>
        <a:bodyPr/>
        <a:lstStyle/>
        <a:p>
          <a:endParaRPr lang="en-US"/>
        </a:p>
      </dgm:t>
    </dgm:pt>
    <dgm:pt modelId="{E6F86610-3786-485B-8D92-1C03CC6D0039}" type="pres">
      <dgm:prSet presAssocID="{D1FC1737-FE39-4E4F-BCDB-A553A6FA4630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3B4B661-B2D6-4D3B-85BC-64926ED5FD6B}" type="pres">
      <dgm:prSet presAssocID="{25C0137C-27D4-47CF-821E-9CBD2B79FBF1}" presName="composite" presStyleCnt="0"/>
      <dgm:spPr/>
    </dgm:pt>
    <dgm:pt modelId="{81878519-E862-4319-B1A4-5925EEE50750}" type="pres">
      <dgm:prSet presAssocID="{25C0137C-27D4-47CF-821E-9CBD2B79FBF1}" presName="imagSh" presStyleLbl="b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C213662B-15BB-44BB-A6EE-8C30E454D085}" type="pres">
      <dgm:prSet presAssocID="{25C0137C-27D4-47CF-821E-9CBD2B79FBF1}" presName="tx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E3F40B-58C5-4CA5-A920-CB892940BCA6}" type="pres">
      <dgm:prSet presAssocID="{174A2F52-9109-4C38-AFEB-2B3E4272B23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E6D5864F-2A65-42F2-B8E9-F68A0B5BA662}" type="pres">
      <dgm:prSet presAssocID="{174A2F52-9109-4C38-AFEB-2B3E4272B238}" presName="connTx" presStyleLbl="sibTrans2D1" presStyleIdx="0" presStyleCnt="2"/>
      <dgm:spPr/>
      <dgm:t>
        <a:bodyPr/>
        <a:lstStyle/>
        <a:p>
          <a:endParaRPr lang="en-US"/>
        </a:p>
      </dgm:t>
    </dgm:pt>
    <dgm:pt modelId="{EAA6C8FB-9E19-4413-B206-68E423E79323}" type="pres">
      <dgm:prSet presAssocID="{53B4EFED-AA7B-44C5-AB38-C4B274D4B74D}" presName="composite" presStyleCnt="0"/>
      <dgm:spPr/>
    </dgm:pt>
    <dgm:pt modelId="{D77A7B8B-A6B5-4618-8D76-B0E129E0FB66}" type="pres">
      <dgm:prSet presAssocID="{53B4EFED-AA7B-44C5-AB38-C4B274D4B74D}" presName="imagSh" presStyleLbl="b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D8188A9F-3CDC-4D0E-B835-59073C55F069}" type="pres">
      <dgm:prSet presAssocID="{53B4EFED-AA7B-44C5-AB38-C4B274D4B74D}" presName="tx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525050-7E6E-4B51-89CB-F3D4A4C2042C}" type="pres">
      <dgm:prSet presAssocID="{BDAE0F6B-711C-4647-8D42-A1C9C3BCF156}" presName="sibTrans" presStyleLbl="sibTrans2D1" presStyleIdx="1" presStyleCnt="2"/>
      <dgm:spPr/>
      <dgm:t>
        <a:bodyPr/>
        <a:lstStyle/>
        <a:p>
          <a:endParaRPr lang="en-US"/>
        </a:p>
      </dgm:t>
    </dgm:pt>
    <dgm:pt modelId="{10CF55F9-206D-49B4-92BD-90251C078EC7}" type="pres">
      <dgm:prSet presAssocID="{BDAE0F6B-711C-4647-8D42-A1C9C3BCF156}" presName="connTx" presStyleLbl="sibTrans2D1" presStyleIdx="1" presStyleCnt="2"/>
      <dgm:spPr/>
      <dgm:t>
        <a:bodyPr/>
        <a:lstStyle/>
        <a:p>
          <a:endParaRPr lang="en-US"/>
        </a:p>
      </dgm:t>
    </dgm:pt>
    <dgm:pt modelId="{CE5BE82E-3D8D-4F67-8D9F-C5870F4A6A87}" type="pres">
      <dgm:prSet presAssocID="{0CC9C1A2-9D9D-4166-8DA7-A79D568C38A8}" presName="composite" presStyleCnt="0"/>
      <dgm:spPr/>
    </dgm:pt>
    <dgm:pt modelId="{03F79D65-EFA3-4132-A302-81DC2828E842}" type="pres">
      <dgm:prSet presAssocID="{0CC9C1A2-9D9D-4166-8DA7-A79D568C38A8}" presName="imagSh" presStyleLbl="b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8344E136-D0CF-4794-BF1E-D6BB2E6D1F5C}" type="pres">
      <dgm:prSet presAssocID="{0CC9C1A2-9D9D-4166-8DA7-A79D568C38A8}" presName="tx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288A3B-8D56-475D-92BC-F5C3EEC0FEDC}" type="presOf" srcId="{174A2F52-9109-4C38-AFEB-2B3E4272B238}" destId="{A0E3F40B-58C5-4CA5-A920-CB892940BCA6}" srcOrd="0" destOrd="0" presId="urn:microsoft.com/office/officeart/2005/8/layout/hProcess10"/>
    <dgm:cxn modelId="{1E7F1F0B-6B7E-4893-9201-2A7597BBF574}" type="presOf" srcId="{174A2F52-9109-4C38-AFEB-2B3E4272B238}" destId="{E6D5864F-2A65-42F2-B8E9-F68A0B5BA662}" srcOrd="1" destOrd="0" presId="urn:microsoft.com/office/officeart/2005/8/layout/hProcess10"/>
    <dgm:cxn modelId="{3E3B789E-0D94-4C8F-A3F8-CD494B2A580C}" type="presOf" srcId="{7BED8F84-DCDF-416C-9846-E1EBF064D606}" destId="{D8188A9F-3CDC-4D0E-B835-59073C55F069}" srcOrd="0" destOrd="2" presId="urn:microsoft.com/office/officeart/2005/8/layout/hProcess10"/>
    <dgm:cxn modelId="{D15DE783-6E22-47F7-B86C-4389CFE58227}" srcId="{53B4EFED-AA7B-44C5-AB38-C4B274D4B74D}" destId="{DD4F1087-A165-4A20-A6AC-1F8C492E3D93}" srcOrd="0" destOrd="0" parTransId="{3545FECA-4FB5-48ED-826D-F8B887394A85}" sibTransId="{DCA4CDCC-8117-4F7A-9D4D-68A5FBD35536}"/>
    <dgm:cxn modelId="{F4A9B761-5B81-4D96-9B21-11D5824CD5A3}" type="presOf" srcId="{D1FC1737-FE39-4E4F-BCDB-A553A6FA4630}" destId="{E6F86610-3786-485B-8D92-1C03CC6D0039}" srcOrd="0" destOrd="0" presId="urn:microsoft.com/office/officeart/2005/8/layout/hProcess10"/>
    <dgm:cxn modelId="{5132280F-446D-473E-8C53-58E78111068E}" type="presOf" srcId="{C36E3217-A3ED-4C08-956F-991768588E70}" destId="{C213662B-15BB-44BB-A6EE-8C30E454D085}" srcOrd="0" destOrd="2" presId="urn:microsoft.com/office/officeart/2005/8/layout/hProcess10"/>
    <dgm:cxn modelId="{988DEBE2-0362-4B12-ADE9-7449EDF012CF}" srcId="{0CC9C1A2-9D9D-4166-8DA7-A79D568C38A8}" destId="{DF3A2A63-AE54-4B3D-839B-4990187AE9D3}" srcOrd="1" destOrd="0" parTransId="{31C1FFC6-10C6-4288-BCBC-3F532A8DBED0}" sibTransId="{C360DDA5-3E4A-492E-BAF9-110E45E84AF9}"/>
    <dgm:cxn modelId="{5C2D8288-C9A5-4282-9139-B21151447863}" type="presOf" srcId="{BDAE0F6B-711C-4647-8D42-A1C9C3BCF156}" destId="{5E525050-7E6E-4B51-89CB-F3D4A4C2042C}" srcOrd="0" destOrd="0" presId="urn:microsoft.com/office/officeart/2005/8/layout/hProcess10"/>
    <dgm:cxn modelId="{5264F79C-E562-4E68-886C-68A4019D2ECE}" type="presOf" srcId="{DF3A2A63-AE54-4B3D-839B-4990187AE9D3}" destId="{8344E136-D0CF-4794-BF1E-D6BB2E6D1F5C}" srcOrd="0" destOrd="2" presId="urn:microsoft.com/office/officeart/2005/8/layout/hProcess10"/>
    <dgm:cxn modelId="{0CF9F016-B5D1-438B-B787-AE12697B5E69}" type="presOf" srcId="{53B4EFED-AA7B-44C5-AB38-C4B274D4B74D}" destId="{D8188A9F-3CDC-4D0E-B835-59073C55F069}" srcOrd="0" destOrd="0" presId="urn:microsoft.com/office/officeart/2005/8/layout/hProcess10"/>
    <dgm:cxn modelId="{932A25C3-B877-4F28-AAA4-47923167F106}" srcId="{25C0137C-27D4-47CF-821E-9CBD2B79FBF1}" destId="{C36E3217-A3ED-4C08-956F-991768588E70}" srcOrd="1" destOrd="0" parTransId="{53E23572-7C0D-481E-B75D-D57B4802BBBC}" sibTransId="{6AB06B17-3FCF-453C-8D29-F52218323BB8}"/>
    <dgm:cxn modelId="{2AB29675-777B-47BD-A733-E9E720ED868A}" type="presOf" srcId="{8E857FD7-BF58-4254-ADD3-6EA7B1A7B1C8}" destId="{8344E136-D0CF-4794-BF1E-D6BB2E6D1F5C}" srcOrd="0" destOrd="1" presId="urn:microsoft.com/office/officeart/2005/8/layout/hProcess10"/>
    <dgm:cxn modelId="{EE098D17-C5B9-4E13-A07B-AED918B40595}" srcId="{D1FC1737-FE39-4E4F-BCDB-A553A6FA4630}" destId="{0CC9C1A2-9D9D-4166-8DA7-A79D568C38A8}" srcOrd="2" destOrd="0" parTransId="{A3C21C5F-EEEF-4A39-9974-686F82891ABE}" sibTransId="{70BA8944-2387-464A-AC11-D0E4619B445D}"/>
    <dgm:cxn modelId="{1D2D7AEE-CFE5-49FD-A85C-168B97A2FC86}" srcId="{D1FC1737-FE39-4E4F-BCDB-A553A6FA4630}" destId="{25C0137C-27D4-47CF-821E-9CBD2B79FBF1}" srcOrd="0" destOrd="0" parTransId="{300F782F-2117-4B98-8141-905E76A024EA}" sibTransId="{174A2F52-9109-4C38-AFEB-2B3E4272B238}"/>
    <dgm:cxn modelId="{786BE117-4ED9-4192-AC56-526BF426E29F}" srcId="{25C0137C-27D4-47CF-821E-9CBD2B79FBF1}" destId="{2C72EFB5-470A-4798-9795-E3DAD2D61769}" srcOrd="0" destOrd="0" parTransId="{7011CAAA-E072-4ADD-BBE4-5ABB9AF01AB2}" sibTransId="{B69BF00E-8FC9-4A0B-BEAD-57FF8793DA6B}"/>
    <dgm:cxn modelId="{32520878-341B-42E3-95BA-07E0B6FE0730}" srcId="{53B4EFED-AA7B-44C5-AB38-C4B274D4B74D}" destId="{7BED8F84-DCDF-416C-9846-E1EBF064D606}" srcOrd="1" destOrd="0" parTransId="{7F8DDFEF-8BB7-4C9A-A5FD-F258CFB3A9CD}" sibTransId="{D985B8C9-26A3-4DBA-BD9C-8BAB56C87B37}"/>
    <dgm:cxn modelId="{F14BB125-70C7-41EC-9B87-EF77C69CCE34}" srcId="{D1FC1737-FE39-4E4F-BCDB-A553A6FA4630}" destId="{53B4EFED-AA7B-44C5-AB38-C4B274D4B74D}" srcOrd="1" destOrd="0" parTransId="{7272E234-D71F-41B4-8756-0725FBD31200}" sibTransId="{BDAE0F6B-711C-4647-8D42-A1C9C3BCF156}"/>
    <dgm:cxn modelId="{035EDFAC-5DCD-44CC-9E7F-760AECAB9F9F}" type="presOf" srcId="{2C72EFB5-470A-4798-9795-E3DAD2D61769}" destId="{C213662B-15BB-44BB-A6EE-8C30E454D085}" srcOrd="0" destOrd="1" presId="urn:microsoft.com/office/officeart/2005/8/layout/hProcess10"/>
    <dgm:cxn modelId="{1C7F2782-D1F3-4A41-99E8-8D485813D2C8}" type="presOf" srcId="{25C0137C-27D4-47CF-821E-9CBD2B79FBF1}" destId="{C213662B-15BB-44BB-A6EE-8C30E454D085}" srcOrd="0" destOrd="0" presId="urn:microsoft.com/office/officeart/2005/8/layout/hProcess10"/>
    <dgm:cxn modelId="{BA0D5763-5DC1-4CD9-A6B8-65061E05E537}" type="presOf" srcId="{BDAE0F6B-711C-4647-8D42-A1C9C3BCF156}" destId="{10CF55F9-206D-49B4-92BD-90251C078EC7}" srcOrd="1" destOrd="0" presId="urn:microsoft.com/office/officeart/2005/8/layout/hProcess10"/>
    <dgm:cxn modelId="{EDD07CBD-A54F-465E-AA07-DF6EF875C5D0}" type="presOf" srcId="{DD4F1087-A165-4A20-A6AC-1F8C492E3D93}" destId="{D8188A9F-3CDC-4D0E-B835-59073C55F069}" srcOrd="0" destOrd="1" presId="urn:microsoft.com/office/officeart/2005/8/layout/hProcess10"/>
    <dgm:cxn modelId="{B86126A9-4388-4FA5-931B-4D9AEC094879}" type="presOf" srcId="{0CC9C1A2-9D9D-4166-8DA7-A79D568C38A8}" destId="{8344E136-D0CF-4794-BF1E-D6BB2E6D1F5C}" srcOrd="0" destOrd="0" presId="urn:microsoft.com/office/officeart/2005/8/layout/hProcess10"/>
    <dgm:cxn modelId="{11E8E0AB-1EA0-4606-BFBD-9A7A54670359}" srcId="{0CC9C1A2-9D9D-4166-8DA7-A79D568C38A8}" destId="{8E857FD7-BF58-4254-ADD3-6EA7B1A7B1C8}" srcOrd="0" destOrd="0" parTransId="{E4DAA4D1-BACF-45B3-B3D1-A79628E14E01}" sibTransId="{6961FF35-F8E8-4D0E-B09C-C95752222A1A}"/>
    <dgm:cxn modelId="{6373E5AA-C34F-4DE5-B96B-AF772AB9703B}" type="presParOf" srcId="{E6F86610-3786-485B-8D92-1C03CC6D0039}" destId="{A3B4B661-B2D6-4D3B-85BC-64926ED5FD6B}" srcOrd="0" destOrd="0" presId="urn:microsoft.com/office/officeart/2005/8/layout/hProcess10"/>
    <dgm:cxn modelId="{24C14E80-01BE-4900-8DE9-6EDA09AF38E9}" type="presParOf" srcId="{A3B4B661-B2D6-4D3B-85BC-64926ED5FD6B}" destId="{81878519-E862-4319-B1A4-5925EEE50750}" srcOrd="0" destOrd="0" presId="urn:microsoft.com/office/officeart/2005/8/layout/hProcess10"/>
    <dgm:cxn modelId="{7247115E-0D21-49C6-893B-7CD505F4F087}" type="presParOf" srcId="{A3B4B661-B2D6-4D3B-85BC-64926ED5FD6B}" destId="{C213662B-15BB-44BB-A6EE-8C30E454D085}" srcOrd="1" destOrd="0" presId="urn:microsoft.com/office/officeart/2005/8/layout/hProcess10"/>
    <dgm:cxn modelId="{1379442E-BA83-4308-BE41-EEA871C860EC}" type="presParOf" srcId="{E6F86610-3786-485B-8D92-1C03CC6D0039}" destId="{A0E3F40B-58C5-4CA5-A920-CB892940BCA6}" srcOrd="1" destOrd="0" presId="urn:microsoft.com/office/officeart/2005/8/layout/hProcess10"/>
    <dgm:cxn modelId="{15CDCC9A-49D5-4558-A78E-D4817DFDA7E3}" type="presParOf" srcId="{A0E3F40B-58C5-4CA5-A920-CB892940BCA6}" destId="{E6D5864F-2A65-42F2-B8E9-F68A0B5BA662}" srcOrd="0" destOrd="0" presId="urn:microsoft.com/office/officeart/2005/8/layout/hProcess10"/>
    <dgm:cxn modelId="{0563A2C9-D633-449C-9B75-589F00861776}" type="presParOf" srcId="{E6F86610-3786-485B-8D92-1C03CC6D0039}" destId="{EAA6C8FB-9E19-4413-B206-68E423E79323}" srcOrd="2" destOrd="0" presId="urn:microsoft.com/office/officeart/2005/8/layout/hProcess10"/>
    <dgm:cxn modelId="{115B2FF2-5998-4F94-A6D1-FEF9C7EB2426}" type="presParOf" srcId="{EAA6C8FB-9E19-4413-B206-68E423E79323}" destId="{D77A7B8B-A6B5-4618-8D76-B0E129E0FB66}" srcOrd="0" destOrd="0" presId="urn:microsoft.com/office/officeart/2005/8/layout/hProcess10"/>
    <dgm:cxn modelId="{2882EF28-1667-48CF-95F9-27C8EE32A72A}" type="presParOf" srcId="{EAA6C8FB-9E19-4413-B206-68E423E79323}" destId="{D8188A9F-3CDC-4D0E-B835-59073C55F069}" srcOrd="1" destOrd="0" presId="urn:microsoft.com/office/officeart/2005/8/layout/hProcess10"/>
    <dgm:cxn modelId="{0912E5BA-085B-4216-808F-113285331DDE}" type="presParOf" srcId="{E6F86610-3786-485B-8D92-1C03CC6D0039}" destId="{5E525050-7E6E-4B51-89CB-F3D4A4C2042C}" srcOrd="3" destOrd="0" presId="urn:microsoft.com/office/officeart/2005/8/layout/hProcess10"/>
    <dgm:cxn modelId="{5852354A-0362-41E8-9B3D-2A145FA4DF79}" type="presParOf" srcId="{5E525050-7E6E-4B51-89CB-F3D4A4C2042C}" destId="{10CF55F9-206D-49B4-92BD-90251C078EC7}" srcOrd="0" destOrd="0" presId="urn:microsoft.com/office/officeart/2005/8/layout/hProcess10"/>
    <dgm:cxn modelId="{141A57ED-A761-4B36-8A63-D766AC19775F}" type="presParOf" srcId="{E6F86610-3786-485B-8D92-1C03CC6D0039}" destId="{CE5BE82E-3D8D-4F67-8D9F-C5870F4A6A87}" srcOrd="4" destOrd="0" presId="urn:microsoft.com/office/officeart/2005/8/layout/hProcess10"/>
    <dgm:cxn modelId="{76EB2FE7-7824-42EA-A567-2812221CFFF6}" type="presParOf" srcId="{CE5BE82E-3D8D-4F67-8D9F-C5870F4A6A87}" destId="{03F79D65-EFA3-4132-A302-81DC2828E842}" srcOrd="0" destOrd="0" presId="urn:microsoft.com/office/officeart/2005/8/layout/hProcess10"/>
    <dgm:cxn modelId="{18766E17-FB3A-4193-B437-A8B9108E8175}" type="presParOf" srcId="{CE5BE82E-3D8D-4F67-8D9F-C5870F4A6A87}" destId="{8344E136-D0CF-4794-BF1E-D6BB2E6D1F5C}" srcOrd="1" destOrd="0" presId="urn:microsoft.com/office/officeart/2005/8/layout/hProcess10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B796D67-C393-40C1-92E7-27932AF8BE5F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140B41-B3DF-457B-8E75-5D86C0D4BAB3}">
      <dgm:prSet phldrT="[Text]"/>
      <dgm:spPr/>
      <dgm:t>
        <a:bodyPr/>
        <a:lstStyle/>
        <a:p>
          <a:r>
            <a:rPr lang="en-US" b="1" dirty="0" smtClean="0"/>
            <a:t>QE Consulting Services</a:t>
          </a:r>
          <a:endParaRPr lang="en-US" b="1" dirty="0"/>
        </a:p>
      </dgm:t>
    </dgm:pt>
    <dgm:pt modelId="{07FC02AC-7A97-4B1F-9123-A2250293DCF3}" type="parTrans" cxnId="{396537FA-51A7-43D9-856E-4C7FA8CAED40}">
      <dgm:prSet/>
      <dgm:spPr/>
      <dgm:t>
        <a:bodyPr/>
        <a:lstStyle/>
        <a:p>
          <a:endParaRPr lang="en-US"/>
        </a:p>
      </dgm:t>
    </dgm:pt>
    <dgm:pt modelId="{629F886D-104B-4AEC-8B6E-A53C0F322A0B}" type="sibTrans" cxnId="{396537FA-51A7-43D9-856E-4C7FA8CAED40}">
      <dgm:prSet/>
      <dgm:spPr/>
      <dgm:t>
        <a:bodyPr/>
        <a:lstStyle/>
        <a:p>
          <a:endParaRPr lang="en-US"/>
        </a:p>
      </dgm:t>
    </dgm:pt>
    <dgm:pt modelId="{35DF2D50-2E0A-428B-94CA-B3FE9D19784D}">
      <dgm:prSet phldrT="[Text]"/>
      <dgm:spPr/>
      <dgm:t>
        <a:bodyPr/>
        <a:lstStyle/>
        <a:p>
          <a:r>
            <a:rPr lang="en-US" b="1" dirty="0" smtClean="0"/>
            <a:t>QA Transformation</a:t>
          </a:r>
          <a:endParaRPr lang="en-US" b="1" dirty="0"/>
        </a:p>
      </dgm:t>
    </dgm:pt>
    <dgm:pt modelId="{40F08AA0-C7EA-4A62-AF61-C19BB5E54D7B}" type="parTrans" cxnId="{7449F0AA-D614-424C-854E-5489733564C6}">
      <dgm:prSet/>
      <dgm:spPr/>
      <dgm:t>
        <a:bodyPr/>
        <a:lstStyle/>
        <a:p>
          <a:endParaRPr lang="en-US"/>
        </a:p>
      </dgm:t>
    </dgm:pt>
    <dgm:pt modelId="{F385704D-2D37-4920-9F8B-27452179BF61}" type="sibTrans" cxnId="{7449F0AA-D614-424C-854E-5489733564C6}">
      <dgm:prSet/>
      <dgm:spPr/>
      <dgm:t>
        <a:bodyPr/>
        <a:lstStyle/>
        <a:p>
          <a:endParaRPr lang="en-US"/>
        </a:p>
      </dgm:t>
    </dgm:pt>
    <dgm:pt modelId="{5076F855-A1AA-4FFB-B7B0-76B08BFB7C1D}">
      <dgm:prSet phldrT="[Text]"/>
      <dgm:spPr/>
      <dgm:t>
        <a:bodyPr/>
        <a:lstStyle/>
        <a:p>
          <a:r>
            <a:rPr lang="en-US" b="1" dirty="0" smtClean="0"/>
            <a:t>Intelligent Test Automation</a:t>
          </a:r>
          <a:endParaRPr lang="en-US" b="1" dirty="0"/>
        </a:p>
      </dgm:t>
    </dgm:pt>
    <dgm:pt modelId="{DD3CFBDF-8A85-4FE8-994F-E0103B9B2B55}" type="parTrans" cxnId="{3593C03D-D43B-42A7-A3BA-DBD07142F064}">
      <dgm:prSet/>
      <dgm:spPr/>
      <dgm:t>
        <a:bodyPr/>
        <a:lstStyle/>
        <a:p>
          <a:endParaRPr lang="en-US"/>
        </a:p>
      </dgm:t>
    </dgm:pt>
    <dgm:pt modelId="{EB97A621-0AF9-4939-B4E7-AB6798F50429}" type="sibTrans" cxnId="{3593C03D-D43B-42A7-A3BA-DBD07142F064}">
      <dgm:prSet/>
      <dgm:spPr/>
      <dgm:t>
        <a:bodyPr/>
        <a:lstStyle/>
        <a:p>
          <a:endParaRPr lang="en-US"/>
        </a:p>
      </dgm:t>
    </dgm:pt>
    <dgm:pt modelId="{F407D1A5-C360-45FE-B65F-0B8133E11DC7}">
      <dgm:prSet phldrT="[Text]"/>
      <dgm:spPr/>
      <dgm:t>
        <a:bodyPr/>
        <a:lstStyle/>
        <a:p>
          <a:r>
            <a:rPr lang="en-US" b="1" dirty="0" smtClean="0"/>
            <a:t>Digital Assurance</a:t>
          </a:r>
          <a:endParaRPr lang="en-US" b="1" dirty="0"/>
        </a:p>
      </dgm:t>
    </dgm:pt>
    <dgm:pt modelId="{CE497B5E-8DA3-49D8-8D4B-E01F348EC96D}" type="parTrans" cxnId="{7D98907C-7ED5-4313-A077-C06BCD970E95}">
      <dgm:prSet/>
      <dgm:spPr/>
      <dgm:t>
        <a:bodyPr/>
        <a:lstStyle/>
        <a:p>
          <a:endParaRPr lang="en-US"/>
        </a:p>
      </dgm:t>
    </dgm:pt>
    <dgm:pt modelId="{34A86791-4854-4363-A25E-FE6BC537BD36}" type="sibTrans" cxnId="{7D98907C-7ED5-4313-A077-C06BCD970E95}">
      <dgm:prSet/>
      <dgm:spPr/>
      <dgm:t>
        <a:bodyPr/>
        <a:lstStyle/>
        <a:p>
          <a:endParaRPr lang="en-US"/>
        </a:p>
      </dgm:t>
    </dgm:pt>
    <dgm:pt modelId="{B3A26572-63A5-4780-8C41-18F4BF84DCD5}">
      <dgm:prSet phldrT="[Text]"/>
      <dgm:spPr/>
      <dgm:t>
        <a:bodyPr/>
        <a:lstStyle/>
        <a:p>
          <a:r>
            <a:rPr lang="en-US" b="1" dirty="0" smtClean="0"/>
            <a:t>Independent Product Testing</a:t>
          </a:r>
          <a:endParaRPr lang="en-US" b="1" dirty="0"/>
        </a:p>
      </dgm:t>
    </dgm:pt>
    <dgm:pt modelId="{3EE3E9E9-2468-4F86-A275-FF5DD4AE7288}" type="parTrans" cxnId="{FCC8BC16-EC7C-4C63-9CAE-E506D97498BA}">
      <dgm:prSet/>
      <dgm:spPr/>
      <dgm:t>
        <a:bodyPr/>
        <a:lstStyle/>
        <a:p>
          <a:endParaRPr lang="en-US"/>
        </a:p>
      </dgm:t>
    </dgm:pt>
    <dgm:pt modelId="{CEE088ED-DC17-4718-A784-55381F18BDC2}" type="sibTrans" cxnId="{FCC8BC16-EC7C-4C63-9CAE-E506D97498BA}">
      <dgm:prSet/>
      <dgm:spPr/>
      <dgm:t>
        <a:bodyPr/>
        <a:lstStyle/>
        <a:p>
          <a:endParaRPr lang="en-US"/>
        </a:p>
      </dgm:t>
    </dgm:pt>
    <dgm:pt modelId="{94909D8F-3EA6-4D93-85A6-E8D04586AA14}" type="pres">
      <dgm:prSet presAssocID="{1B796D67-C393-40C1-92E7-27932AF8BE5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F4A9A89-BF18-498D-9972-22EFC9580913}" type="pres">
      <dgm:prSet presAssocID="{31140B41-B3DF-457B-8E75-5D86C0D4BAB3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5E2670-DCF9-4819-A6AB-E6EF9BBF9D13}" type="pres">
      <dgm:prSet presAssocID="{629F886D-104B-4AEC-8B6E-A53C0F322A0B}" presName="sibTrans" presStyleCnt="0"/>
      <dgm:spPr/>
      <dgm:t>
        <a:bodyPr/>
        <a:lstStyle/>
        <a:p>
          <a:endParaRPr lang="en-US"/>
        </a:p>
      </dgm:t>
    </dgm:pt>
    <dgm:pt modelId="{9F7DE8B3-7BA3-48A0-8419-96A74CE92DE3}" type="pres">
      <dgm:prSet presAssocID="{35DF2D50-2E0A-428B-94CA-B3FE9D19784D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E79EF5-AD67-4B7C-B373-7D5390351F1E}" type="pres">
      <dgm:prSet presAssocID="{F385704D-2D37-4920-9F8B-27452179BF61}" presName="sibTrans" presStyleCnt="0"/>
      <dgm:spPr/>
      <dgm:t>
        <a:bodyPr/>
        <a:lstStyle/>
        <a:p>
          <a:endParaRPr lang="en-US"/>
        </a:p>
      </dgm:t>
    </dgm:pt>
    <dgm:pt modelId="{15A97FF9-06F8-4543-8A31-D05E63B8E1E7}" type="pres">
      <dgm:prSet presAssocID="{5076F855-A1AA-4FFB-B7B0-76B08BFB7C1D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86E719-3360-4514-B2FC-27B557B1D6D7}" type="pres">
      <dgm:prSet presAssocID="{EB97A621-0AF9-4939-B4E7-AB6798F50429}" presName="sibTrans" presStyleCnt="0"/>
      <dgm:spPr/>
      <dgm:t>
        <a:bodyPr/>
        <a:lstStyle/>
        <a:p>
          <a:endParaRPr lang="en-US"/>
        </a:p>
      </dgm:t>
    </dgm:pt>
    <dgm:pt modelId="{66834268-A422-4EB8-A71F-E21339E4BA46}" type="pres">
      <dgm:prSet presAssocID="{F407D1A5-C360-45FE-B65F-0B8133E11DC7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5CA7B6-85CF-481E-B4F9-8D8308EB5601}" type="pres">
      <dgm:prSet presAssocID="{34A86791-4854-4363-A25E-FE6BC537BD36}" presName="sibTrans" presStyleCnt="0"/>
      <dgm:spPr/>
      <dgm:t>
        <a:bodyPr/>
        <a:lstStyle/>
        <a:p>
          <a:endParaRPr lang="en-US"/>
        </a:p>
      </dgm:t>
    </dgm:pt>
    <dgm:pt modelId="{B3F7D446-F264-4277-A697-0DB5EF3B36AB}" type="pres">
      <dgm:prSet presAssocID="{B3A26572-63A5-4780-8C41-18F4BF84DCD5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DCB0772-B593-4310-8A95-DD92106CC977}" type="presOf" srcId="{35DF2D50-2E0A-428B-94CA-B3FE9D19784D}" destId="{9F7DE8B3-7BA3-48A0-8419-96A74CE92DE3}" srcOrd="0" destOrd="0" presId="urn:microsoft.com/office/officeart/2005/8/layout/default"/>
    <dgm:cxn modelId="{B90F77CB-5D70-4044-94AA-E8E38E2D592A}" type="presOf" srcId="{5076F855-A1AA-4FFB-B7B0-76B08BFB7C1D}" destId="{15A97FF9-06F8-4543-8A31-D05E63B8E1E7}" srcOrd="0" destOrd="0" presId="urn:microsoft.com/office/officeart/2005/8/layout/default"/>
    <dgm:cxn modelId="{3593C03D-D43B-42A7-A3BA-DBD07142F064}" srcId="{1B796D67-C393-40C1-92E7-27932AF8BE5F}" destId="{5076F855-A1AA-4FFB-B7B0-76B08BFB7C1D}" srcOrd="2" destOrd="0" parTransId="{DD3CFBDF-8A85-4FE8-994F-E0103B9B2B55}" sibTransId="{EB97A621-0AF9-4939-B4E7-AB6798F50429}"/>
    <dgm:cxn modelId="{9A207B6E-012E-4C8C-8860-657531867B33}" type="presOf" srcId="{1B796D67-C393-40C1-92E7-27932AF8BE5F}" destId="{94909D8F-3EA6-4D93-85A6-E8D04586AA14}" srcOrd="0" destOrd="0" presId="urn:microsoft.com/office/officeart/2005/8/layout/default"/>
    <dgm:cxn modelId="{03B79A04-418E-4A83-8CDE-80DD147A4623}" type="presOf" srcId="{B3A26572-63A5-4780-8C41-18F4BF84DCD5}" destId="{B3F7D446-F264-4277-A697-0DB5EF3B36AB}" srcOrd="0" destOrd="0" presId="urn:microsoft.com/office/officeart/2005/8/layout/default"/>
    <dgm:cxn modelId="{7449F0AA-D614-424C-854E-5489733564C6}" srcId="{1B796D67-C393-40C1-92E7-27932AF8BE5F}" destId="{35DF2D50-2E0A-428B-94CA-B3FE9D19784D}" srcOrd="1" destOrd="0" parTransId="{40F08AA0-C7EA-4A62-AF61-C19BB5E54D7B}" sibTransId="{F385704D-2D37-4920-9F8B-27452179BF61}"/>
    <dgm:cxn modelId="{396537FA-51A7-43D9-856E-4C7FA8CAED40}" srcId="{1B796D67-C393-40C1-92E7-27932AF8BE5F}" destId="{31140B41-B3DF-457B-8E75-5D86C0D4BAB3}" srcOrd="0" destOrd="0" parTransId="{07FC02AC-7A97-4B1F-9123-A2250293DCF3}" sibTransId="{629F886D-104B-4AEC-8B6E-A53C0F322A0B}"/>
    <dgm:cxn modelId="{FCC8BC16-EC7C-4C63-9CAE-E506D97498BA}" srcId="{1B796D67-C393-40C1-92E7-27932AF8BE5F}" destId="{B3A26572-63A5-4780-8C41-18F4BF84DCD5}" srcOrd="4" destOrd="0" parTransId="{3EE3E9E9-2468-4F86-A275-FF5DD4AE7288}" sibTransId="{CEE088ED-DC17-4718-A784-55381F18BDC2}"/>
    <dgm:cxn modelId="{2D361B12-DD3E-4DF1-A1EC-FE499DAA081B}" type="presOf" srcId="{31140B41-B3DF-457B-8E75-5D86C0D4BAB3}" destId="{CF4A9A89-BF18-498D-9972-22EFC9580913}" srcOrd="0" destOrd="0" presId="urn:microsoft.com/office/officeart/2005/8/layout/default"/>
    <dgm:cxn modelId="{7D98907C-7ED5-4313-A077-C06BCD970E95}" srcId="{1B796D67-C393-40C1-92E7-27932AF8BE5F}" destId="{F407D1A5-C360-45FE-B65F-0B8133E11DC7}" srcOrd="3" destOrd="0" parTransId="{CE497B5E-8DA3-49D8-8D4B-E01F348EC96D}" sibTransId="{34A86791-4854-4363-A25E-FE6BC537BD36}"/>
    <dgm:cxn modelId="{670E7AA9-39FB-4053-B2E2-8E858D1CCCD2}" type="presOf" srcId="{F407D1A5-C360-45FE-B65F-0B8133E11DC7}" destId="{66834268-A422-4EB8-A71F-E21339E4BA46}" srcOrd="0" destOrd="0" presId="urn:microsoft.com/office/officeart/2005/8/layout/default"/>
    <dgm:cxn modelId="{8762993F-3241-4BE0-9B14-2707472304CC}" type="presParOf" srcId="{94909D8F-3EA6-4D93-85A6-E8D04586AA14}" destId="{CF4A9A89-BF18-498D-9972-22EFC9580913}" srcOrd="0" destOrd="0" presId="urn:microsoft.com/office/officeart/2005/8/layout/default"/>
    <dgm:cxn modelId="{F4F7C920-544F-4A7C-A00F-52A0EF876778}" type="presParOf" srcId="{94909D8F-3EA6-4D93-85A6-E8D04586AA14}" destId="{F05E2670-DCF9-4819-A6AB-E6EF9BBF9D13}" srcOrd="1" destOrd="0" presId="urn:microsoft.com/office/officeart/2005/8/layout/default"/>
    <dgm:cxn modelId="{071503E2-94FF-4D2C-8170-4A052EF0A22A}" type="presParOf" srcId="{94909D8F-3EA6-4D93-85A6-E8D04586AA14}" destId="{9F7DE8B3-7BA3-48A0-8419-96A74CE92DE3}" srcOrd="2" destOrd="0" presId="urn:microsoft.com/office/officeart/2005/8/layout/default"/>
    <dgm:cxn modelId="{E08A0283-46E3-4AAC-A459-50D9741A2353}" type="presParOf" srcId="{94909D8F-3EA6-4D93-85A6-E8D04586AA14}" destId="{DFE79EF5-AD67-4B7C-B373-7D5390351F1E}" srcOrd="3" destOrd="0" presId="urn:microsoft.com/office/officeart/2005/8/layout/default"/>
    <dgm:cxn modelId="{C937ED19-4CFC-4023-BC94-7991691E7C68}" type="presParOf" srcId="{94909D8F-3EA6-4D93-85A6-E8D04586AA14}" destId="{15A97FF9-06F8-4543-8A31-D05E63B8E1E7}" srcOrd="4" destOrd="0" presId="urn:microsoft.com/office/officeart/2005/8/layout/default"/>
    <dgm:cxn modelId="{98872724-8A19-4CBD-BC75-FF9344074BDF}" type="presParOf" srcId="{94909D8F-3EA6-4D93-85A6-E8D04586AA14}" destId="{E086E719-3360-4514-B2FC-27B557B1D6D7}" srcOrd="5" destOrd="0" presId="urn:microsoft.com/office/officeart/2005/8/layout/default"/>
    <dgm:cxn modelId="{E96B2319-656B-4997-A320-8F0DED3576BA}" type="presParOf" srcId="{94909D8F-3EA6-4D93-85A6-E8D04586AA14}" destId="{66834268-A422-4EB8-A71F-E21339E4BA46}" srcOrd="6" destOrd="0" presId="urn:microsoft.com/office/officeart/2005/8/layout/default"/>
    <dgm:cxn modelId="{D356128F-0EE2-4813-BFB3-655A60C914CE}" type="presParOf" srcId="{94909D8F-3EA6-4D93-85A6-E8D04586AA14}" destId="{6A5CA7B6-85CF-481E-B4F9-8D8308EB5601}" srcOrd="7" destOrd="0" presId="urn:microsoft.com/office/officeart/2005/8/layout/default"/>
    <dgm:cxn modelId="{9757543A-1E82-4914-BF4B-DEADFF8C5AF2}" type="presParOf" srcId="{94909D8F-3EA6-4D93-85A6-E8D04586AA14}" destId="{B3F7D446-F264-4277-A697-0DB5EF3B36AB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98D76E0-AC37-4650-B325-36C96173528B}" type="doc">
      <dgm:prSet loTypeId="urn:microsoft.com/office/officeart/2005/8/layout/pyramid1" loCatId="pyramid" qsTypeId="urn:microsoft.com/office/officeart/2005/8/quickstyle/simple1" qsCatId="simple" csTypeId="urn:microsoft.com/office/officeart/2005/8/colors/accent2_2" csCatId="accent2" phldr="1"/>
      <dgm:spPr/>
    </dgm:pt>
    <dgm:pt modelId="{C1AE0E87-B05D-4E59-8163-F25DC682C7FD}">
      <dgm:prSet phldrT="[Text]"/>
      <dgm:spPr>
        <a:solidFill>
          <a:schemeClr val="accent3"/>
        </a:solidFill>
      </dgm:spPr>
      <dgm:t>
        <a:bodyPr/>
        <a:lstStyle/>
        <a:p>
          <a:r>
            <a:rPr lang="en-US" dirty="0">
              <a:solidFill>
                <a:schemeClr val="bg1">
                  <a:lumMod val="95000"/>
                </a:schemeClr>
              </a:solidFill>
            </a:rPr>
            <a:t> </a:t>
          </a:r>
        </a:p>
      </dgm:t>
    </dgm:pt>
    <dgm:pt modelId="{C54533FB-377F-4E10-A083-0E4FCCB6CD83}" type="parTrans" cxnId="{5F2AB13C-284F-4FDE-AFF3-98BD4EA9933B}">
      <dgm:prSet/>
      <dgm:spPr/>
      <dgm:t>
        <a:bodyPr/>
        <a:lstStyle/>
        <a:p>
          <a:endParaRPr lang="en-US"/>
        </a:p>
      </dgm:t>
    </dgm:pt>
    <dgm:pt modelId="{7266486A-5C8F-4598-AF1A-83A5A4298B68}" type="sibTrans" cxnId="{5F2AB13C-284F-4FDE-AFF3-98BD4EA9933B}">
      <dgm:prSet/>
      <dgm:spPr/>
      <dgm:t>
        <a:bodyPr/>
        <a:lstStyle/>
        <a:p>
          <a:endParaRPr lang="en-US"/>
        </a:p>
      </dgm:t>
    </dgm:pt>
    <dgm:pt modelId="{DDB93496-3679-4C02-845C-C4BEC671FCF5}">
      <dgm:prSet phldrT="[Text]"/>
      <dgm:spPr>
        <a:solidFill>
          <a:srgbClr val="616367"/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E5AB8837-6A02-4BF7-A5D6-523510300938}" type="parTrans" cxnId="{C6FA54A2-4388-43FF-813F-9982B9CFD39A}">
      <dgm:prSet/>
      <dgm:spPr/>
      <dgm:t>
        <a:bodyPr/>
        <a:lstStyle/>
        <a:p>
          <a:endParaRPr lang="en-US"/>
        </a:p>
      </dgm:t>
    </dgm:pt>
    <dgm:pt modelId="{22824446-995D-49C3-870B-7E2C0CE0B9D8}" type="sibTrans" cxnId="{C6FA54A2-4388-43FF-813F-9982B9CFD39A}">
      <dgm:prSet/>
      <dgm:spPr/>
      <dgm:t>
        <a:bodyPr/>
        <a:lstStyle/>
        <a:p>
          <a:endParaRPr lang="en-US"/>
        </a:p>
      </dgm:t>
    </dgm:pt>
    <dgm:pt modelId="{015C90B8-7005-4E9A-9D39-BDEED3687DB5}">
      <dgm:prSet phldrT="[Text]"/>
      <dgm:spPr>
        <a:solidFill>
          <a:schemeClr val="accent3"/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69907BCB-AB0F-4D68-B845-6788D421F38E}" type="parTrans" cxnId="{784598DF-7812-48CC-B996-0A1441BF1B73}">
      <dgm:prSet/>
      <dgm:spPr/>
      <dgm:t>
        <a:bodyPr/>
        <a:lstStyle/>
        <a:p>
          <a:endParaRPr lang="en-US"/>
        </a:p>
      </dgm:t>
    </dgm:pt>
    <dgm:pt modelId="{8EB342D9-F755-4E91-868E-FAC8D80BDD32}" type="sibTrans" cxnId="{784598DF-7812-48CC-B996-0A1441BF1B73}">
      <dgm:prSet/>
      <dgm:spPr/>
      <dgm:t>
        <a:bodyPr/>
        <a:lstStyle/>
        <a:p>
          <a:endParaRPr lang="en-US"/>
        </a:p>
      </dgm:t>
    </dgm:pt>
    <dgm:pt modelId="{B0A3C140-3535-4647-A3C3-253C74CFEB19}">
      <dgm:prSet phldrT="[Text]"/>
      <dgm:spPr>
        <a:solidFill>
          <a:srgbClr val="616367"/>
        </a:solidFill>
      </dgm:spPr>
      <dgm:t>
        <a:bodyPr/>
        <a:lstStyle/>
        <a:p>
          <a:endParaRPr lang="en-US" dirty="0"/>
        </a:p>
      </dgm:t>
    </dgm:pt>
    <dgm:pt modelId="{06FBE0D5-77EA-4740-9305-618789D02EE2}" type="parTrans" cxnId="{9612147C-949B-4685-8F29-4A7E33496230}">
      <dgm:prSet/>
      <dgm:spPr/>
      <dgm:t>
        <a:bodyPr/>
        <a:lstStyle/>
        <a:p>
          <a:endParaRPr lang="en-US"/>
        </a:p>
      </dgm:t>
    </dgm:pt>
    <dgm:pt modelId="{1C73F710-0C5A-444A-A417-811F3BC0AEC6}" type="sibTrans" cxnId="{9612147C-949B-4685-8F29-4A7E33496230}">
      <dgm:prSet/>
      <dgm:spPr/>
      <dgm:t>
        <a:bodyPr/>
        <a:lstStyle/>
        <a:p>
          <a:endParaRPr lang="en-US"/>
        </a:p>
      </dgm:t>
    </dgm:pt>
    <dgm:pt modelId="{29841BFB-EC48-45BE-9EBB-A81143DE0B72}" type="pres">
      <dgm:prSet presAssocID="{D98D76E0-AC37-4650-B325-36C96173528B}" presName="Name0" presStyleCnt="0">
        <dgm:presLayoutVars>
          <dgm:dir/>
          <dgm:animLvl val="lvl"/>
          <dgm:resizeHandles val="exact"/>
        </dgm:presLayoutVars>
      </dgm:prSet>
      <dgm:spPr/>
    </dgm:pt>
    <dgm:pt modelId="{1926A318-240A-4F82-97B4-49B7E318544B}" type="pres">
      <dgm:prSet presAssocID="{C1AE0E87-B05D-4E59-8163-F25DC682C7FD}" presName="Name8" presStyleCnt="0"/>
      <dgm:spPr/>
    </dgm:pt>
    <dgm:pt modelId="{D38DD8EE-9C51-4AF4-BFE1-B53230CAE389}" type="pres">
      <dgm:prSet presAssocID="{C1AE0E87-B05D-4E59-8163-F25DC682C7FD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7CE06C7-E098-4BD2-B23C-49E23DA4C7E3}" type="pres">
      <dgm:prSet presAssocID="{C1AE0E87-B05D-4E59-8163-F25DC682C7F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94B67BC-314E-49E1-9678-05C2D58EA0E5}" type="pres">
      <dgm:prSet presAssocID="{DDB93496-3679-4C02-845C-C4BEC671FCF5}" presName="Name8" presStyleCnt="0"/>
      <dgm:spPr/>
    </dgm:pt>
    <dgm:pt modelId="{AFA0AF39-5414-4B17-A106-76C20E393C75}" type="pres">
      <dgm:prSet presAssocID="{DDB93496-3679-4C02-845C-C4BEC671FCF5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62FAE17-FDBD-48A9-9461-D88B700F2364}" type="pres">
      <dgm:prSet presAssocID="{DDB93496-3679-4C02-845C-C4BEC671FCF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91233BA-198F-4E06-8C60-D7229FC0F94D}" type="pres">
      <dgm:prSet presAssocID="{015C90B8-7005-4E9A-9D39-BDEED3687DB5}" presName="Name8" presStyleCnt="0"/>
      <dgm:spPr/>
    </dgm:pt>
    <dgm:pt modelId="{046696DC-DF79-481E-AFFE-FC22FCC8640A}" type="pres">
      <dgm:prSet presAssocID="{015C90B8-7005-4E9A-9D39-BDEED3687DB5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CFF7ACC-6DC8-4FA1-927C-F5E1FFC475BF}" type="pres">
      <dgm:prSet presAssocID="{015C90B8-7005-4E9A-9D39-BDEED3687DB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DD7DE42-842B-42E6-A31A-9F001F40C3B0}" type="pres">
      <dgm:prSet presAssocID="{B0A3C140-3535-4647-A3C3-253C74CFEB19}" presName="Name8" presStyleCnt="0"/>
      <dgm:spPr/>
    </dgm:pt>
    <dgm:pt modelId="{FE72FE6E-12D1-4E3C-8429-350EE2821D2D}" type="pres">
      <dgm:prSet presAssocID="{B0A3C140-3535-4647-A3C3-253C74CFEB19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5CFDEEF-7202-4398-8750-8C9B559B2950}" type="pres">
      <dgm:prSet presAssocID="{B0A3C140-3535-4647-A3C3-253C74CFEB1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27139312-4D44-4485-B1F5-976716ED310B}" type="presOf" srcId="{B0A3C140-3535-4647-A3C3-253C74CFEB19}" destId="{FE72FE6E-12D1-4E3C-8429-350EE2821D2D}" srcOrd="0" destOrd="0" presId="urn:microsoft.com/office/officeart/2005/8/layout/pyramid1"/>
    <dgm:cxn modelId="{780C8745-D901-414F-8CCD-DE4391CE3D61}" type="presOf" srcId="{DDB93496-3679-4C02-845C-C4BEC671FCF5}" destId="{262FAE17-FDBD-48A9-9461-D88B700F2364}" srcOrd="1" destOrd="0" presId="urn:microsoft.com/office/officeart/2005/8/layout/pyramid1"/>
    <dgm:cxn modelId="{784598DF-7812-48CC-B996-0A1441BF1B73}" srcId="{D98D76E0-AC37-4650-B325-36C96173528B}" destId="{015C90B8-7005-4E9A-9D39-BDEED3687DB5}" srcOrd="2" destOrd="0" parTransId="{69907BCB-AB0F-4D68-B845-6788D421F38E}" sibTransId="{8EB342D9-F755-4E91-868E-FAC8D80BDD32}"/>
    <dgm:cxn modelId="{C6FA54A2-4388-43FF-813F-9982B9CFD39A}" srcId="{D98D76E0-AC37-4650-B325-36C96173528B}" destId="{DDB93496-3679-4C02-845C-C4BEC671FCF5}" srcOrd="1" destOrd="0" parTransId="{E5AB8837-6A02-4BF7-A5D6-523510300938}" sibTransId="{22824446-995D-49C3-870B-7E2C0CE0B9D8}"/>
    <dgm:cxn modelId="{5CD9A276-A4E0-49E1-A75C-F1A3B34F5439}" type="presOf" srcId="{B0A3C140-3535-4647-A3C3-253C74CFEB19}" destId="{D5CFDEEF-7202-4398-8750-8C9B559B2950}" srcOrd="1" destOrd="0" presId="urn:microsoft.com/office/officeart/2005/8/layout/pyramid1"/>
    <dgm:cxn modelId="{5F2AB13C-284F-4FDE-AFF3-98BD4EA9933B}" srcId="{D98D76E0-AC37-4650-B325-36C96173528B}" destId="{C1AE0E87-B05D-4E59-8163-F25DC682C7FD}" srcOrd="0" destOrd="0" parTransId="{C54533FB-377F-4E10-A083-0E4FCCB6CD83}" sibTransId="{7266486A-5C8F-4598-AF1A-83A5A4298B68}"/>
    <dgm:cxn modelId="{F9D836DD-1770-4CD9-B072-77AB77471F5A}" type="presOf" srcId="{015C90B8-7005-4E9A-9D39-BDEED3687DB5}" destId="{CCFF7ACC-6DC8-4FA1-927C-F5E1FFC475BF}" srcOrd="1" destOrd="0" presId="urn:microsoft.com/office/officeart/2005/8/layout/pyramid1"/>
    <dgm:cxn modelId="{22B4366C-D39D-4DB9-BD96-CBBBDF908656}" type="presOf" srcId="{015C90B8-7005-4E9A-9D39-BDEED3687DB5}" destId="{046696DC-DF79-481E-AFFE-FC22FCC8640A}" srcOrd="0" destOrd="0" presId="urn:microsoft.com/office/officeart/2005/8/layout/pyramid1"/>
    <dgm:cxn modelId="{E4840C5C-0CC0-47BA-8471-C543A66B102E}" type="presOf" srcId="{C1AE0E87-B05D-4E59-8163-F25DC682C7FD}" destId="{D38DD8EE-9C51-4AF4-BFE1-B53230CAE389}" srcOrd="0" destOrd="0" presId="urn:microsoft.com/office/officeart/2005/8/layout/pyramid1"/>
    <dgm:cxn modelId="{9612147C-949B-4685-8F29-4A7E33496230}" srcId="{D98D76E0-AC37-4650-B325-36C96173528B}" destId="{B0A3C140-3535-4647-A3C3-253C74CFEB19}" srcOrd="3" destOrd="0" parTransId="{06FBE0D5-77EA-4740-9305-618789D02EE2}" sibTransId="{1C73F710-0C5A-444A-A417-811F3BC0AEC6}"/>
    <dgm:cxn modelId="{264E5E30-57FF-4A04-91DF-E394EFEC8F26}" type="presOf" srcId="{DDB93496-3679-4C02-845C-C4BEC671FCF5}" destId="{AFA0AF39-5414-4B17-A106-76C20E393C75}" srcOrd="0" destOrd="0" presId="urn:microsoft.com/office/officeart/2005/8/layout/pyramid1"/>
    <dgm:cxn modelId="{02594DF2-4853-42D6-88DD-C8CC4856AC1C}" type="presOf" srcId="{D98D76E0-AC37-4650-B325-36C96173528B}" destId="{29841BFB-EC48-45BE-9EBB-A81143DE0B72}" srcOrd="0" destOrd="0" presId="urn:microsoft.com/office/officeart/2005/8/layout/pyramid1"/>
    <dgm:cxn modelId="{3E770A26-1E12-48AE-A147-29F5A629C07A}" type="presOf" srcId="{C1AE0E87-B05D-4E59-8163-F25DC682C7FD}" destId="{F7CE06C7-E098-4BD2-B23C-49E23DA4C7E3}" srcOrd="1" destOrd="0" presId="urn:microsoft.com/office/officeart/2005/8/layout/pyramid1"/>
    <dgm:cxn modelId="{B4678970-0294-4C64-95A3-66040A34DFB4}" type="presParOf" srcId="{29841BFB-EC48-45BE-9EBB-A81143DE0B72}" destId="{1926A318-240A-4F82-97B4-49B7E318544B}" srcOrd="0" destOrd="0" presId="urn:microsoft.com/office/officeart/2005/8/layout/pyramid1"/>
    <dgm:cxn modelId="{046BCDF4-F9D9-4BFF-A99A-311C3D0C8919}" type="presParOf" srcId="{1926A318-240A-4F82-97B4-49B7E318544B}" destId="{D38DD8EE-9C51-4AF4-BFE1-B53230CAE389}" srcOrd="0" destOrd="0" presId="urn:microsoft.com/office/officeart/2005/8/layout/pyramid1"/>
    <dgm:cxn modelId="{81AEB2D1-BDB3-468B-BF9C-BAC475092950}" type="presParOf" srcId="{1926A318-240A-4F82-97B4-49B7E318544B}" destId="{F7CE06C7-E098-4BD2-B23C-49E23DA4C7E3}" srcOrd="1" destOrd="0" presId="urn:microsoft.com/office/officeart/2005/8/layout/pyramid1"/>
    <dgm:cxn modelId="{D64E348A-C179-4A79-BA8C-69FEC37A3C63}" type="presParOf" srcId="{29841BFB-EC48-45BE-9EBB-A81143DE0B72}" destId="{594B67BC-314E-49E1-9678-05C2D58EA0E5}" srcOrd="1" destOrd="0" presId="urn:microsoft.com/office/officeart/2005/8/layout/pyramid1"/>
    <dgm:cxn modelId="{9ECD456D-8DFF-44FE-BB3B-FD801009215C}" type="presParOf" srcId="{594B67BC-314E-49E1-9678-05C2D58EA0E5}" destId="{AFA0AF39-5414-4B17-A106-76C20E393C75}" srcOrd="0" destOrd="0" presId="urn:microsoft.com/office/officeart/2005/8/layout/pyramid1"/>
    <dgm:cxn modelId="{BB194151-5D6B-4E4F-9416-B9B062419CD4}" type="presParOf" srcId="{594B67BC-314E-49E1-9678-05C2D58EA0E5}" destId="{262FAE17-FDBD-48A9-9461-D88B700F2364}" srcOrd="1" destOrd="0" presId="urn:microsoft.com/office/officeart/2005/8/layout/pyramid1"/>
    <dgm:cxn modelId="{FB41549E-F434-418B-8501-1726A07E5D93}" type="presParOf" srcId="{29841BFB-EC48-45BE-9EBB-A81143DE0B72}" destId="{791233BA-198F-4E06-8C60-D7229FC0F94D}" srcOrd="2" destOrd="0" presId="urn:microsoft.com/office/officeart/2005/8/layout/pyramid1"/>
    <dgm:cxn modelId="{49ADE2F4-A1B2-4234-BEB8-89F35EE2EA41}" type="presParOf" srcId="{791233BA-198F-4E06-8C60-D7229FC0F94D}" destId="{046696DC-DF79-481E-AFFE-FC22FCC8640A}" srcOrd="0" destOrd="0" presId="urn:microsoft.com/office/officeart/2005/8/layout/pyramid1"/>
    <dgm:cxn modelId="{49DDA1BF-1D75-444A-9FDD-05626DF023F3}" type="presParOf" srcId="{791233BA-198F-4E06-8C60-D7229FC0F94D}" destId="{CCFF7ACC-6DC8-4FA1-927C-F5E1FFC475BF}" srcOrd="1" destOrd="0" presId="urn:microsoft.com/office/officeart/2005/8/layout/pyramid1"/>
    <dgm:cxn modelId="{A05F2737-A13F-4A76-8475-3AD254545A0E}" type="presParOf" srcId="{29841BFB-EC48-45BE-9EBB-A81143DE0B72}" destId="{ADD7DE42-842B-42E6-A31A-9F001F40C3B0}" srcOrd="3" destOrd="0" presId="urn:microsoft.com/office/officeart/2005/8/layout/pyramid1"/>
    <dgm:cxn modelId="{8311C210-15D3-49A6-B412-5D33803B2131}" type="presParOf" srcId="{ADD7DE42-842B-42E6-A31A-9F001F40C3B0}" destId="{FE72FE6E-12D1-4E3C-8429-350EE2821D2D}" srcOrd="0" destOrd="0" presId="urn:microsoft.com/office/officeart/2005/8/layout/pyramid1"/>
    <dgm:cxn modelId="{38F45391-179A-45E9-9B64-9E05A60956D7}" type="presParOf" srcId="{ADD7DE42-842B-42E6-A31A-9F001F40C3B0}" destId="{D5CFDEEF-7202-4398-8750-8C9B559B295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878519-E862-4319-B1A4-5925EEE50750}">
      <dsp:nvSpPr>
        <dsp:cNvPr id="0" name=""/>
        <dsp:cNvSpPr/>
      </dsp:nvSpPr>
      <dsp:spPr>
        <a:xfrm>
          <a:off x="2729" y="200735"/>
          <a:ext cx="1286084" cy="128608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13662B-15BB-44BB-A6EE-8C30E454D085}">
      <dsp:nvSpPr>
        <dsp:cNvPr id="0" name=""/>
        <dsp:cNvSpPr/>
      </dsp:nvSpPr>
      <dsp:spPr>
        <a:xfrm>
          <a:off x="212092" y="972386"/>
          <a:ext cx="1286084" cy="12860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Risk Profiling</a:t>
          </a:r>
          <a:endParaRPr lang="en-US" sz="14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Identifying Risk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Categorization</a:t>
          </a:r>
          <a:endParaRPr lang="en-US" sz="1100" kern="1200" dirty="0"/>
        </a:p>
      </dsp:txBody>
      <dsp:txXfrm>
        <a:off x="249760" y="1010054"/>
        <a:ext cx="1210748" cy="1210748"/>
      </dsp:txXfrm>
    </dsp:sp>
    <dsp:sp modelId="{A0E3F40B-58C5-4CA5-A920-CB892940BCA6}">
      <dsp:nvSpPr>
        <dsp:cNvPr id="0" name=""/>
        <dsp:cNvSpPr/>
      </dsp:nvSpPr>
      <dsp:spPr>
        <a:xfrm>
          <a:off x="1536542" y="689263"/>
          <a:ext cx="247728" cy="3090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1536542" y="751069"/>
        <a:ext cx="173410" cy="185416"/>
      </dsp:txXfrm>
    </dsp:sp>
    <dsp:sp modelId="{D77A7B8B-A6B5-4618-8D76-B0E129E0FB66}">
      <dsp:nvSpPr>
        <dsp:cNvPr id="0" name=""/>
        <dsp:cNvSpPr/>
      </dsp:nvSpPr>
      <dsp:spPr>
        <a:xfrm>
          <a:off x="1996609" y="200735"/>
          <a:ext cx="1286084" cy="128608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188A9F-3CDC-4D0E-B835-59073C55F069}">
      <dsp:nvSpPr>
        <dsp:cNvPr id="0" name=""/>
        <dsp:cNvSpPr/>
      </dsp:nvSpPr>
      <dsp:spPr>
        <a:xfrm>
          <a:off x="2205972" y="972386"/>
          <a:ext cx="1286084" cy="12860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robability</a:t>
          </a:r>
          <a:endParaRPr lang="en-US" sz="14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Frequency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Occurrences </a:t>
          </a:r>
          <a:endParaRPr lang="en-US" sz="1100" kern="1200" dirty="0"/>
        </a:p>
      </dsp:txBody>
      <dsp:txXfrm>
        <a:off x="2243640" y="1010054"/>
        <a:ext cx="1210748" cy="1210748"/>
      </dsp:txXfrm>
    </dsp:sp>
    <dsp:sp modelId="{5E525050-7E6E-4B51-89CB-F3D4A4C2042C}">
      <dsp:nvSpPr>
        <dsp:cNvPr id="0" name=""/>
        <dsp:cNvSpPr/>
      </dsp:nvSpPr>
      <dsp:spPr>
        <a:xfrm>
          <a:off x="3530422" y="689263"/>
          <a:ext cx="247728" cy="3090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3530422" y="751069"/>
        <a:ext cx="173410" cy="185416"/>
      </dsp:txXfrm>
    </dsp:sp>
    <dsp:sp modelId="{03F79D65-EFA3-4132-A302-81DC2828E842}">
      <dsp:nvSpPr>
        <dsp:cNvPr id="0" name=""/>
        <dsp:cNvSpPr/>
      </dsp:nvSpPr>
      <dsp:spPr>
        <a:xfrm>
          <a:off x="3990489" y="200735"/>
          <a:ext cx="1286084" cy="128608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44E136-D0CF-4794-BF1E-D6BB2E6D1F5C}">
      <dsp:nvSpPr>
        <dsp:cNvPr id="0" name=""/>
        <dsp:cNvSpPr/>
      </dsp:nvSpPr>
      <dsp:spPr>
        <a:xfrm>
          <a:off x="4199852" y="972386"/>
          <a:ext cx="1286084" cy="12860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Impact Analysis</a:t>
          </a:r>
          <a:endParaRPr lang="en-US" sz="14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Risk Weightage 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Impact Score</a:t>
          </a:r>
          <a:endParaRPr lang="en-US" sz="1100" kern="1200" dirty="0"/>
        </a:p>
      </dsp:txBody>
      <dsp:txXfrm>
        <a:off x="4237520" y="1010054"/>
        <a:ext cx="1210748" cy="12107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4A9A89-BF18-498D-9972-22EFC9580913}">
      <dsp:nvSpPr>
        <dsp:cNvPr id="0" name=""/>
        <dsp:cNvSpPr/>
      </dsp:nvSpPr>
      <dsp:spPr>
        <a:xfrm>
          <a:off x="0" y="748464"/>
          <a:ext cx="2539999" cy="152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/>
            <a:t>QE Consulting Services</a:t>
          </a:r>
          <a:endParaRPr lang="en-US" sz="2800" b="1" kern="1200" dirty="0"/>
        </a:p>
      </dsp:txBody>
      <dsp:txXfrm>
        <a:off x="0" y="748464"/>
        <a:ext cx="2539999" cy="1524000"/>
      </dsp:txXfrm>
    </dsp:sp>
    <dsp:sp modelId="{9F7DE8B3-7BA3-48A0-8419-96A74CE92DE3}">
      <dsp:nvSpPr>
        <dsp:cNvPr id="0" name=""/>
        <dsp:cNvSpPr/>
      </dsp:nvSpPr>
      <dsp:spPr>
        <a:xfrm>
          <a:off x="2794000" y="748464"/>
          <a:ext cx="2539999" cy="152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/>
            <a:t>QA Transformation</a:t>
          </a:r>
          <a:endParaRPr lang="en-US" sz="2800" b="1" kern="1200" dirty="0"/>
        </a:p>
      </dsp:txBody>
      <dsp:txXfrm>
        <a:off x="2794000" y="748464"/>
        <a:ext cx="2539999" cy="1524000"/>
      </dsp:txXfrm>
    </dsp:sp>
    <dsp:sp modelId="{15A97FF9-06F8-4543-8A31-D05E63B8E1E7}">
      <dsp:nvSpPr>
        <dsp:cNvPr id="0" name=""/>
        <dsp:cNvSpPr/>
      </dsp:nvSpPr>
      <dsp:spPr>
        <a:xfrm>
          <a:off x="5587999" y="748464"/>
          <a:ext cx="2539999" cy="152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/>
            <a:t>Intelligent Test Automation</a:t>
          </a:r>
          <a:endParaRPr lang="en-US" sz="2800" b="1" kern="1200" dirty="0"/>
        </a:p>
      </dsp:txBody>
      <dsp:txXfrm>
        <a:off x="5587999" y="748464"/>
        <a:ext cx="2539999" cy="1524000"/>
      </dsp:txXfrm>
    </dsp:sp>
    <dsp:sp modelId="{66834268-A422-4EB8-A71F-E21339E4BA46}">
      <dsp:nvSpPr>
        <dsp:cNvPr id="0" name=""/>
        <dsp:cNvSpPr/>
      </dsp:nvSpPr>
      <dsp:spPr>
        <a:xfrm>
          <a:off x="1397000" y="2526465"/>
          <a:ext cx="2539999" cy="152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/>
            <a:t>Digital Assurance</a:t>
          </a:r>
          <a:endParaRPr lang="en-US" sz="2800" b="1" kern="1200" dirty="0"/>
        </a:p>
      </dsp:txBody>
      <dsp:txXfrm>
        <a:off x="1397000" y="2526465"/>
        <a:ext cx="2539999" cy="1524000"/>
      </dsp:txXfrm>
    </dsp:sp>
    <dsp:sp modelId="{B3F7D446-F264-4277-A697-0DB5EF3B36AB}">
      <dsp:nvSpPr>
        <dsp:cNvPr id="0" name=""/>
        <dsp:cNvSpPr/>
      </dsp:nvSpPr>
      <dsp:spPr>
        <a:xfrm>
          <a:off x="4191000" y="2526465"/>
          <a:ext cx="2539999" cy="152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/>
            <a:t>Independent Product Testing</a:t>
          </a:r>
          <a:endParaRPr lang="en-US" sz="2800" b="1" kern="1200" dirty="0"/>
        </a:p>
      </dsp:txBody>
      <dsp:txXfrm>
        <a:off x="4191000" y="2526465"/>
        <a:ext cx="2539999" cy="1524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8DD8EE-9C51-4AF4-BFE1-B53230CAE389}">
      <dsp:nvSpPr>
        <dsp:cNvPr id="0" name=""/>
        <dsp:cNvSpPr/>
      </dsp:nvSpPr>
      <dsp:spPr>
        <a:xfrm>
          <a:off x="2286000" y="0"/>
          <a:ext cx="1524000" cy="1202017"/>
        </a:xfrm>
        <a:prstGeom prst="trapezoid">
          <a:avLst>
            <a:gd name="adj" fmla="val 63393"/>
          </a:avLst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>
              <a:solidFill>
                <a:schemeClr val="bg1">
                  <a:lumMod val="95000"/>
                </a:schemeClr>
              </a:solidFill>
            </a:rPr>
            <a:t> </a:t>
          </a:r>
        </a:p>
      </dsp:txBody>
      <dsp:txXfrm>
        <a:off x="2286000" y="0"/>
        <a:ext cx="1524000" cy="1202017"/>
      </dsp:txXfrm>
    </dsp:sp>
    <dsp:sp modelId="{AFA0AF39-5414-4B17-A106-76C20E393C75}">
      <dsp:nvSpPr>
        <dsp:cNvPr id="0" name=""/>
        <dsp:cNvSpPr/>
      </dsp:nvSpPr>
      <dsp:spPr>
        <a:xfrm>
          <a:off x="1524000" y="1202017"/>
          <a:ext cx="3048000" cy="1202017"/>
        </a:xfrm>
        <a:prstGeom prst="trapezoid">
          <a:avLst>
            <a:gd name="adj" fmla="val 63393"/>
          </a:avLst>
        </a:prstGeom>
        <a:solidFill>
          <a:srgbClr val="61636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/>
            <a:t> </a:t>
          </a:r>
        </a:p>
      </dsp:txBody>
      <dsp:txXfrm>
        <a:off x="2057400" y="1202017"/>
        <a:ext cx="1981200" cy="1202017"/>
      </dsp:txXfrm>
    </dsp:sp>
    <dsp:sp modelId="{046696DC-DF79-481E-AFFE-FC22FCC8640A}">
      <dsp:nvSpPr>
        <dsp:cNvPr id="0" name=""/>
        <dsp:cNvSpPr/>
      </dsp:nvSpPr>
      <dsp:spPr>
        <a:xfrm>
          <a:off x="762000" y="2404035"/>
          <a:ext cx="4572000" cy="1202017"/>
        </a:xfrm>
        <a:prstGeom prst="trapezoid">
          <a:avLst>
            <a:gd name="adj" fmla="val 63393"/>
          </a:avLst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/>
            <a:t> </a:t>
          </a:r>
        </a:p>
      </dsp:txBody>
      <dsp:txXfrm>
        <a:off x="1562100" y="2404035"/>
        <a:ext cx="2971800" cy="1202017"/>
      </dsp:txXfrm>
    </dsp:sp>
    <dsp:sp modelId="{FE72FE6E-12D1-4E3C-8429-350EE2821D2D}">
      <dsp:nvSpPr>
        <dsp:cNvPr id="0" name=""/>
        <dsp:cNvSpPr/>
      </dsp:nvSpPr>
      <dsp:spPr>
        <a:xfrm>
          <a:off x="0" y="3606053"/>
          <a:ext cx="6096001" cy="1202017"/>
        </a:xfrm>
        <a:prstGeom prst="trapezoid">
          <a:avLst>
            <a:gd name="adj" fmla="val 63393"/>
          </a:avLst>
        </a:prstGeom>
        <a:solidFill>
          <a:srgbClr val="61636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500" kern="1200" dirty="0"/>
        </a:p>
      </dsp:txBody>
      <dsp:txXfrm>
        <a:off x="1066800" y="3606053"/>
        <a:ext cx="3962400" cy="12020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0">
  <dgm:title val=""/>
  <dgm:desc val=""/>
  <dgm:catLst>
    <dgm:cat type="process" pri="3000"/>
    <dgm:cat type="picture" pri="30000"/>
    <dgm:cat type="pictureconvert" pri="3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op="equ" fact="0.3333"/>
      <dgm:constr type="primFontSz" for="des" forName="txNode" op="equ" val="65"/>
      <dgm:constr type="primFontSz" for="des" forName="connTx" op="equ" val="55"/>
      <dgm:constr type="primFontSz" for="des" forName="connTx" refType="primFontSz" refFor="des" refForName="txNode" op="lte" fact="0.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imagSh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 refType="w" fact="0.14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if>
          <dgm:else name="Name7">
            <dgm:constrLst>
              <dgm:constr type="l" for="ch" forName="imagSh" refType="w" fact="0.14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else>
        </dgm:choose>
        <dgm:ruleLst/>
        <dgm:layoutNode name="imagSh" styleLbl="b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x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imagSh"/>
            <dgm:param type="dstNode" val="imagSh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35"/>
            <dgm:constr type="endPad" refType="connDist" fact="0.3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40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image" Target="../media/image26.emf"/></Relationships>
</file>

<file path=ppt/drawings/_rels/vmlDrawing4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8DEBC2-52DD-FC46-95AB-9A3711BE0FA3}" type="datetimeFigureOut">
              <a:rPr lang="en-US" smtClean="0"/>
              <a:t>8/30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EB9E42-E4AC-B043-9AE4-E4FA0BE4A0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027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EB9E42-E4AC-B043-9AE4-E4FA0BE4A05A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997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B9E42-E4AC-B043-9AE4-E4FA0BE4A0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6960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EB9E42-E4AC-B043-9AE4-E4FA0BE4A0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5647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EB9E42-E4AC-B043-9AE4-E4FA0BE4A05A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8826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22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24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22.png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21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22.png"/><Relationship Id="rId2" Type="http://schemas.openxmlformats.org/officeDocument/2006/relationships/tags" Target="../tags/tag9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21.png"/><Relationship Id="rId2" Type="http://schemas.openxmlformats.org/officeDocument/2006/relationships/tags" Target="../tags/tag9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22.png"/><Relationship Id="rId2" Type="http://schemas.openxmlformats.org/officeDocument/2006/relationships/tags" Target="../tags/tag9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6.bin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7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8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9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0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1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3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5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6.bin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7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7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9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0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4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30.xml"/><Relationship Id="rId7" Type="http://schemas.openxmlformats.org/officeDocument/2006/relationships/image" Target="../media/image11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32.xml"/><Relationship Id="rId7" Type="http://schemas.openxmlformats.org/officeDocument/2006/relationships/image" Target="../media/image10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1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20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image" Target="../media/image20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20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20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20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21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image" Target="../media/image22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24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image" Target="../media/image22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image" Target="../media/image21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22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image" Target="../media/image21.png"/><Relationship Id="rId2" Type="http://schemas.openxmlformats.org/officeDocument/2006/relationships/tags" Target="../tags/tag16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22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25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1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2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03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4.bin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82.xml"/><Relationship Id="rId7" Type="http://schemas.openxmlformats.org/officeDocument/2006/relationships/image" Target="../media/image11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1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20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20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20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image" Target="../media/image20.png"/><Relationship Id="rId2" Type="http://schemas.openxmlformats.org/officeDocument/2006/relationships/tags" Target="../tags/tag199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image" Target="../media/image20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20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21.png"/><Relationship Id="rId2" Type="http://schemas.openxmlformats.org/officeDocument/2006/relationships/tags" Target="../tags/tag205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22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7" Type="http://schemas.openxmlformats.org/officeDocument/2006/relationships/image" Target="../media/image24.png"/><Relationship Id="rId2" Type="http://schemas.openxmlformats.org/officeDocument/2006/relationships/tags" Target="../tags/tag20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7" Type="http://schemas.openxmlformats.org/officeDocument/2006/relationships/image" Target="../media/image22.png"/><Relationship Id="rId2" Type="http://schemas.openxmlformats.org/officeDocument/2006/relationships/tags" Target="../tags/tag21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7" Type="http://schemas.openxmlformats.org/officeDocument/2006/relationships/image" Target="../media/image21.png"/><Relationship Id="rId2" Type="http://schemas.openxmlformats.org/officeDocument/2006/relationships/tags" Target="../tags/tag213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7" Type="http://schemas.openxmlformats.org/officeDocument/2006/relationships/image" Target="../media/image22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7" Type="http://schemas.openxmlformats.org/officeDocument/2006/relationships/image" Target="../media/image21.png"/><Relationship Id="rId2" Type="http://schemas.openxmlformats.org/officeDocument/2006/relationships/tags" Target="../tags/tag217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22.png"/><Relationship Id="rId2" Type="http://schemas.openxmlformats.org/officeDocument/2006/relationships/tags" Target="../tags/tag219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27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9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1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2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33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4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36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37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38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4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41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42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43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4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5.bin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50.xml"/><Relationship Id="rId7" Type="http://schemas.openxmlformats.org/officeDocument/2006/relationships/image" Target="../media/image11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52.xml"/><Relationship Id="rId7" Type="http://schemas.openxmlformats.org/officeDocument/2006/relationships/image" Target="../media/image10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image" Target="../media/image1.png"/><Relationship Id="rId2" Type="http://schemas.openxmlformats.org/officeDocument/2006/relationships/tags" Target="../tags/tag253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image" Target="../media/image20.png"/><Relationship Id="rId2" Type="http://schemas.openxmlformats.org/officeDocument/2006/relationships/tags" Target="../tags/tag263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7" Type="http://schemas.openxmlformats.org/officeDocument/2006/relationships/image" Target="../media/image20.png"/><Relationship Id="rId2" Type="http://schemas.openxmlformats.org/officeDocument/2006/relationships/tags" Target="../tags/tag26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5.bin"/><Relationship Id="rId4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7" Type="http://schemas.openxmlformats.org/officeDocument/2006/relationships/image" Target="../media/image20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7" Type="http://schemas.openxmlformats.org/officeDocument/2006/relationships/image" Target="../media/image20.png"/><Relationship Id="rId2" Type="http://schemas.openxmlformats.org/officeDocument/2006/relationships/tags" Target="../tags/tag269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image" Target="../media/image20.png"/><Relationship Id="rId2" Type="http://schemas.openxmlformats.org/officeDocument/2006/relationships/tags" Target="../tags/tag271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7" Type="http://schemas.openxmlformats.org/officeDocument/2006/relationships/image" Target="../media/image21.png"/><Relationship Id="rId2" Type="http://schemas.openxmlformats.org/officeDocument/2006/relationships/tags" Target="../tags/tag273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7" Type="http://schemas.openxmlformats.org/officeDocument/2006/relationships/image" Target="../media/image22.png"/><Relationship Id="rId2" Type="http://schemas.openxmlformats.org/officeDocument/2006/relationships/tags" Target="../tags/tag275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tags" Target="../tags/tag278.xml"/><Relationship Id="rId7" Type="http://schemas.openxmlformats.org/officeDocument/2006/relationships/image" Target="../media/image24.png"/><Relationship Id="rId2" Type="http://schemas.openxmlformats.org/officeDocument/2006/relationships/tags" Target="../tags/tag277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7" Type="http://schemas.openxmlformats.org/officeDocument/2006/relationships/image" Target="../media/image22.png"/><Relationship Id="rId2" Type="http://schemas.openxmlformats.org/officeDocument/2006/relationships/tags" Target="../tags/tag279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7" Type="http://schemas.openxmlformats.org/officeDocument/2006/relationships/image" Target="../media/image21.png"/><Relationship Id="rId2" Type="http://schemas.openxmlformats.org/officeDocument/2006/relationships/tags" Target="../tags/tag281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284.xml"/><Relationship Id="rId7" Type="http://schemas.openxmlformats.org/officeDocument/2006/relationships/image" Target="../media/image22.png"/><Relationship Id="rId2" Type="http://schemas.openxmlformats.org/officeDocument/2006/relationships/tags" Target="../tags/tag283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7" Type="http://schemas.openxmlformats.org/officeDocument/2006/relationships/image" Target="../media/image21.png"/><Relationship Id="rId2" Type="http://schemas.openxmlformats.org/officeDocument/2006/relationships/tags" Target="../tags/tag28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5.bin"/><Relationship Id="rId4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7" Type="http://schemas.openxmlformats.org/officeDocument/2006/relationships/image" Target="../media/image22.png"/><Relationship Id="rId2" Type="http://schemas.openxmlformats.org/officeDocument/2006/relationships/tags" Target="../tags/tag287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3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5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69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0.bin"/><Relationship Id="rId4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1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2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3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17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5.bin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02.xml"/><Relationship Id="rId7" Type="http://schemas.openxmlformats.org/officeDocument/2006/relationships/image" Target="../media/image11.png"/><Relationship Id="rId2" Type="http://schemas.openxmlformats.org/officeDocument/2006/relationships/tags" Target="../tags/tag301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76.bin"/><Relationship Id="rId4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7" Type="http://schemas.openxmlformats.org/officeDocument/2006/relationships/image" Target="../media/image1.png"/><Relationship Id="rId2" Type="http://schemas.openxmlformats.org/officeDocument/2006/relationships/tags" Target="../tags/tag303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7.bin"/><Relationship Id="rId4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8.bin"/><Relationship Id="rId4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9.bin"/><Relationship Id="rId4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0.bin"/><Relationship Id="rId4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7" Type="http://schemas.openxmlformats.org/officeDocument/2006/relationships/image" Target="../media/image20.png"/><Relationship Id="rId2" Type="http://schemas.openxmlformats.org/officeDocument/2006/relationships/tags" Target="../tags/tag313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2.bin"/><Relationship Id="rId4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7" Type="http://schemas.openxmlformats.org/officeDocument/2006/relationships/image" Target="../media/image20.png"/><Relationship Id="rId2" Type="http://schemas.openxmlformats.org/officeDocument/2006/relationships/tags" Target="../tags/tag315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3.bin"/><Relationship Id="rId4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7" Type="http://schemas.openxmlformats.org/officeDocument/2006/relationships/image" Target="../media/image20.png"/><Relationship Id="rId2" Type="http://schemas.openxmlformats.org/officeDocument/2006/relationships/tags" Target="../tags/tag317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4.bin"/><Relationship Id="rId4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image" Target="../media/image20.png"/><Relationship Id="rId2" Type="http://schemas.openxmlformats.org/officeDocument/2006/relationships/tags" Target="../tags/tag319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5.bin"/><Relationship Id="rId4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20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6.bin"/><Relationship Id="rId4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image" Target="../media/image20.png"/><Relationship Id="rId2" Type="http://schemas.openxmlformats.org/officeDocument/2006/relationships/tags" Target="../tags/tag323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7.bin"/><Relationship Id="rId4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image" Target="../media/image21.png"/><Relationship Id="rId2" Type="http://schemas.openxmlformats.org/officeDocument/2006/relationships/tags" Target="../tags/tag325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22.png"/><Relationship Id="rId2" Type="http://schemas.openxmlformats.org/officeDocument/2006/relationships/tags" Target="../tags/tag327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7" Type="http://schemas.openxmlformats.org/officeDocument/2006/relationships/image" Target="../media/image24.png"/><Relationship Id="rId2" Type="http://schemas.openxmlformats.org/officeDocument/2006/relationships/tags" Target="../tags/tag329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7" Type="http://schemas.openxmlformats.org/officeDocument/2006/relationships/image" Target="../media/image22.png"/><Relationship Id="rId2" Type="http://schemas.openxmlformats.org/officeDocument/2006/relationships/tags" Target="../tags/tag331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7" Type="http://schemas.openxmlformats.org/officeDocument/2006/relationships/image" Target="../media/image21.png"/><Relationship Id="rId2" Type="http://schemas.openxmlformats.org/officeDocument/2006/relationships/tags" Target="../tags/tag333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7" Type="http://schemas.openxmlformats.org/officeDocument/2006/relationships/image" Target="../media/image22.png"/><Relationship Id="rId2" Type="http://schemas.openxmlformats.org/officeDocument/2006/relationships/tags" Target="../tags/tag335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338.xml"/><Relationship Id="rId7" Type="http://schemas.openxmlformats.org/officeDocument/2006/relationships/image" Target="../media/image21.png"/><Relationship Id="rId2" Type="http://schemas.openxmlformats.org/officeDocument/2006/relationships/tags" Target="../tags/tag337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image" Target="../media/image22.png"/><Relationship Id="rId2" Type="http://schemas.openxmlformats.org/officeDocument/2006/relationships/tags" Target="../tags/tag339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344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7.bin"/><Relationship Id="rId4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5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2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98.bin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0.bin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1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0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2.bin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1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3.bin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2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0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5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2" Type="http://schemas.openxmlformats.org/officeDocument/2006/relationships/tags" Target="../tags/tag354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06.bin"/><Relationship Id="rId4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20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07.bin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08.bin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09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10.bin"/><Relationship Id="rId4" Type="http://schemas.openxmlformats.org/officeDocument/2006/relationships/slideMaster" Target="../slideMasters/slideMaster4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21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11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21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12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13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14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5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6.bin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17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369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1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19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370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1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20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1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1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2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2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2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3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2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4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5.xml"/><Relationship Id="rId1" Type="http://schemas.openxmlformats.org/officeDocument/2006/relationships/vmlDrawing" Target="../drawings/vmlDrawing2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5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6.bin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7.bin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8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9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9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0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0.bin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1.bin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2.bin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33.bin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4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5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6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7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8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8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23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9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0.xml"/><Relationship Id="rId1" Type="http://schemas.openxmlformats.org/officeDocument/2006/relationships/vmlDrawing" Target="../drawings/vmlDrawing24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0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1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25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1.bin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24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2.bin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24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3.bin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4.xml"/><Relationship Id="rId1" Type="http://schemas.openxmlformats.org/officeDocument/2006/relationships/vmlDrawing" Target="../drawings/vmlDrawing24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4.bin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5.xml"/><Relationship Id="rId1" Type="http://schemas.openxmlformats.org/officeDocument/2006/relationships/vmlDrawing" Target="../drawings/vmlDrawing24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5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46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7.xml"/><Relationship Id="rId1" Type="http://schemas.openxmlformats.org/officeDocument/2006/relationships/vmlDrawing" Target="../drawings/vmlDrawing24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7.bin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398.xml"/><Relationship Id="rId1" Type="http://schemas.openxmlformats.org/officeDocument/2006/relationships/vmlDrawing" Target="../drawings/vmlDrawing248.vml"/><Relationship Id="rId6" Type="http://schemas.openxmlformats.org/officeDocument/2006/relationships/image" Target="../media/image1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48.bin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9.xml"/><Relationship Id="rId1" Type="http://schemas.openxmlformats.org/officeDocument/2006/relationships/vmlDrawing" Target="../drawings/vmlDrawing249.v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9.bin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0.xml"/><Relationship Id="rId1" Type="http://schemas.openxmlformats.org/officeDocument/2006/relationships/vmlDrawing" Target="../drawings/vmlDrawing25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0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1.xml"/><Relationship Id="rId1" Type="http://schemas.openxmlformats.org/officeDocument/2006/relationships/vmlDrawing" Target="../drawings/vmlDrawing25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1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25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2.bin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25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3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4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5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5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6.xml"/><Relationship Id="rId1" Type="http://schemas.openxmlformats.org/officeDocument/2006/relationships/vmlDrawing" Target="../drawings/vmlDrawing256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6.bin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7.xml"/><Relationship Id="rId1" Type="http://schemas.openxmlformats.org/officeDocument/2006/relationships/vmlDrawing" Target="../drawings/vmlDrawing257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7.bin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8.xml"/><Relationship Id="rId1" Type="http://schemas.openxmlformats.org/officeDocument/2006/relationships/vmlDrawing" Target="../drawings/vmlDrawing258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8.bin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259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9.bin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0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21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60.bin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1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1.bin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2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2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2.bin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3.xml"/><Relationship Id="rId1" Type="http://schemas.openxmlformats.org/officeDocument/2006/relationships/vmlDrawing" Target="../drawings/vmlDrawing263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3.bin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4.xml"/><Relationship Id="rId1" Type="http://schemas.openxmlformats.org/officeDocument/2006/relationships/vmlDrawing" Target="../drawings/vmlDrawing264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4.bin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5.xml"/><Relationship Id="rId1" Type="http://schemas.openxmlformats.org/officeDocument/2006/relationships/vmlDrawing" Target="../drawings/vmlDrawing265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5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6.xml"/><Relationship Id="rId1" Type="http://schemas.openxmlformats.org/officeDocument/2006/relationships/vmlDrawing" Target="../drawings/vmlDrawing266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6.bin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7.xml"/><Relationship Id="rId1" Type="http://schemas.openxmlformats.org/officeDocument/2006/relationships/vmlDrawing" Target="../drawings/vmlDrawing267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7.bin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8.xml"/><Relationship Id="rId1" Type="http://schemas.openxmlformats.org/officeDocument/2006/relationships/vmlDrawing" Target="../drawings/vmlDrawing26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8.bin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9.xml"/><Relationship Id="rId1" Type="http://schemas.openxmlformats.org/officeDocument/2006/relationships/vmlDrawing" Target="../drawings/vmlDrawing26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9.bin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0.xml"/><Relationship Id="rId1" Type="http://schemas.openxmlformats.org/officeDocument/2006/relationships/vmlDrawing" Target="../drawings/vmlDrawing270.vml"/><Relationship Id="rId6" Type="http://schemas.openxmlformats.org/officeDocument/2006/relationships/image" Target="../media/image2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70.bin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27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1.bin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2.xml"/><Relationship Id="rId1" Type="http://schemas.openxmlformats.org/officeDocument/2006/relationships/vmlDrawing" Target="../drawings/vmlDrawing272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2.bin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27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3.bin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27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4.bin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27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6.xml"/><Relationship Id="rId1" Type="http://schemas.openxmlformats.org/officeDocument/2006/relationships/vmlDrawing" Target="../drawings/vmlDrawing276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76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7.xml"/><Relationship Id="rId1" Type="http://schemas.openxmlformats.org/officeDocument/2006/relationships/vmlDrawing" Target="../drawings/vmlDrawing27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7.bin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2" Type="http://schemas.openxmlformats.org/officeDocument/2006/relationships/tags" Target="../tags/tag428.xml"/><Relationship Id="rId1" Type="http://schemas.openxmlformats.org/officeDocument/2006/relationships/vmlDrawing" Target="../drawings/vmlDrawing27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78.bin"/><Relationship Id="rId4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0.xml"/><Relationship Id="rId1" Type="http://schemas.openxmlformats.org/officeDocument/2006/relationships/vmlDrawing" Target="../drawings/vmlDrawing27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79.bin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28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0.bin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2.xml"/><Relationship Id="rId1" Type="http://schemas.openxmlformats.org/officeDocument/2006/relationships/vmlDrawing" Target="../drawings/vmlDrawing281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1.bin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tags" Target="../tags/tag434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28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82.bin"/><Relationship Id="rId4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5.xml"/><Relationship Id="rId1" Type="http://schemas.openxmlformats.org/officeDocument/2006/relationships/vmlDrawing" Target="../drawings/vmlDrawing28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3.bin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6.xml"/><Relationship Id="rId1" Type="http://schemas.openxmlformats.org/officeDocument/2006/relationships/vmlDrawing" Target="../drawings/vmlDrawing284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4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285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8.xml"/><Relationship Id="rId1" Type="http://schemas.openxmlformats.org/officeDocument/2006/relationships/vmlDrawing" Target="../drawings/vmlDrawing286.v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6.bin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9.xml"/><Relationship Id="rId1" Type="http://schemas.openxmlformats.org/officeDocument/2006/relationships/vmlDrawing" Target="../drawings/vmlDrawing287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87.bin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0.xml"/><Relationship Id="rId1" Type="http://schemas.openxmlformats.org/officeDocument/2006/relationships/vmlDrawing" Target="../drawings/vmlDrawing288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88.bin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1.xml"/><Relationship Id="rId1" Type="http://schemas.openxmlformats.org/officeDocument/2006/relationships/vmlDrawing" Target="../drawings/vmlDrawing28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89.bin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2.xml"/><Relationship Id="rId1" Type="http://schemas.openxmlformats.org/officeDocument/2006/relationships/vmlDrawing" Target="../drawings/vmlDrawing290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90.bin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3.xml"/><Relationship Id="rId1" Type="http://schemas.openxmlformats.org/officeDocument/2006/relationships/vmlDrawing" Target="../drawings/vmlDrawing291.vml"/><Relationship Id="rId6" Type="http://schemas.openxmlformats.org/officeDocument/2006/relationships/image" Target="../media/image5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91.bin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microsoft.com/office/2007/relationships/hdphoto" Target="../media/hdphoto4.wdp"/><Relationship Id="rId2" Type="http://schemas.openxmlformats.org/officeDocument/2006/relationships/tags" Target="../tags/tag444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28.jpe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92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5.xml"/><Relationship Id="rId1" Type="http://schemas.openxmlformats.org/officeDocument/2006/relationships/vmlDrawing" Target="../drawings/vmlDrawing293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93.bin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6.xml"/><Relationship Id="rId1" Type="http://schemas.openxmlformats.org/officeDocument/2006/relationships/vmlDrawing" Target="../drawings/vmlDrawing294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94.bin"/></Relationships>
</file>

<file path=ppt/slideLayouts/_rels/slideLayout3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50.xml"/><Relationship Id="rId7" Type="http://schemas.openxmlformats.org/officeDocument/2006/relationships/image" Target="../media/image11.png"/><Relationship Id="rId2" Type="http://schemas.openxmlformats.org/officeDocument/2006/relationships/tags" Target="../tags/tag449.xml"/><Relationship Id="rId1" Type="http://schemas.openxmlformats.org/officeDocument/2006/relationships/vmlDrawing" Target="../drawings/vmlDrawing296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96.bin"/><Relationship Id="rId4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52.xml"/><Relationship Id="rId7" Type="http://schemas.openxmlformats.org/officeDocument/2006/relationships/image" Target="../media/image10.png"/><Relationship Id="rId2" Type="http://schemas.openxmlformats.org/officeDocument/2006/relationships/tags" Target="../tags/tag451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97.bin"/><Relationship Id="rId4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tags" Target="../tags/tag454.xml"/><Relationship Id="rId7" Type="http://schemas.openxmlformats.org/officeDocument/2006/relationships/image" Target="../media/image1.png"/><Relationship Id="rId2" Type="http://schemas.openxmlformats.org/officeDocument/2006/relationships/tags" Target="../tags/tag453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98.bin"/><Relationship Id="rId4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tags" Target="../tags/tag456.xml"/><Relationship Id="rId7" Type="http://schemas.openxmlformats.org/officeDocument/2006/relationships/image" Target="../media/image1.png"/><Relationship Id="rId2" Type="http://schemas.openxmlformats.org/officeDocument/2006/relationships/tags" Target="../tags/tag455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99.bin"/><Relationship Id="rId4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tags" Target="../tags/tag458.xml"/><Relationship Id="rId2" Type="http://schemas.openxmlformats.org/officeDocument/2006/relationships/tags" Target="../tags/tag457.xml"/><Relationship Id="rId1" Type="http://schemas.openxmlformats.org/officeDocument/2006/relationships/vmlDrawing" Target="../drawings/vmlDrawing30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0.bin"/><Relationship Id="rId4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tags" Target="../tags/tag460.xml"/><Relationship Id="rId2" Type="http://schemas.openxmlformats.org/officeDocument/2006/relationships/tags" Target="../tags/tag459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1.bin"/><Relationship Id="rId4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tags" Target="../tags/tag462.xml"/><Relationship Id="rId2" Type="http://schemas.openxmlformats.org/officeDocument/2006/relationships/tags" Target="../tags/tag461.xml"/><Relationship Id="rId1" Type="http://schemas.openxmlformats.org/officeDocument/2006/relationships/vmlDrawing" Target="../drawings/vmlDrawing30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2.bin"/><Relationship Id="rId4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3.bin"/><Relationship Id="rId4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tags" Target="../tags/tag466.xml"/><Relationship Id="rId7" Type="http://schemas.openxmlformats.org/officeDocument/2006/relationships/image" Target="../media/image20.png"/><Relationship Id="rId2" Type="http://schemas.openxmlformats.org/officeDocument/2006/relationships/tags" Target="../tags/tag465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4.bin"/><Relationship Id="rId4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tags" Target="../tags/tag468.xml"/><Relationship Id="rId7" Type="http://schemas.openxmlformats.org/officeDocument/2006/relationships/image" Target="../media/image20.png"/><Relationship Id="rId2" Type="http://schemas.openxmlformats.org/officeDocument/2006/relationships/tags" Target="../tags/tag467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5.bin"/><Relationship Id="rId4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tags" Target="../tags/tag470.xml"/><Relationship Id="rId7" Type="http://schemas.openxmlformats.org/officeDocument/2006/relationships/image" Target="../media/image20.png"/><Relationship Id="rId2" Type="http://schemas.openxmlformats.org/officeDocument/2006/relationships/tags" Target="../tags/tag469.xml"/><Relationship Id="rId1" Type="http://schemas.openxmlformats.org/officeDocument/2006/relationships/vmlDrawing" Target="../drawings/vmlDrawing30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6.bin"/><Relationship Id="rId4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tags" Target="../tags/tag472.xml"/><Relationship Id="rId7" Type="http://schemas.openxmlformats.org/officeDocument/2006/relationships/image" Target="../media/image20.png"/><Relationship Id="rId2" Type="http://schemas.openxmlformats.org/officeDocument/2006/relationships/tags" Target="../tags/tag471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7.bin"/><Relationship Id="rId4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tags" Target="../tags/tag474.xml"/><Relationship Id="rId7" Type="http://schemas.openxmlformats.org/officeDocument/2006/relationships/image" Target="../media/image20.png"/><Relationship Id="rId2" Type="http://schemas.openxmlformats.org/officeDocument/2006/relationships/tags" Target="../tags/tag473.xml"/><Relationship Id="rId1" Type="http://schemas.openxmlformats.org/officeDocument/2006/relationships/vmlDrawing" Target="../drawings/vmlDrawing30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8.bin"/><Relationship Id="rId4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tags" Target="../tags/tag476.xml"/><Relationship Id="rId7" Type="http://schemas.openxmlformats.org/officeDocument/2006/relationships/image" Target="../media/image21.png"/><Relationship Id="rId2" Type="http://schemas.openxmlformats.org/officeDocument/2006/relationships/tags" Target="../tags/tag475.xml"/><Relationship Id="rId1" Type="http://schemas.openxmlformats.org/officeDocument/2006/relationships/vmlDrawing" Target="../drawings/vmlDrawing30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9.bin"/><Relationship Id="rId4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tags" Target="../tags/tag478.xml"/><Relationship Id="rId7" Type="http://schemas.openxmlformats.org/officeDocument/2006/relationships/image" Target="../media/image22.png"/><Relationship Id="rId2" Type="http://schemas.openxmlformats.org/officeDocument/2006/relationships/tags" Target="../tags/tag477.xml"/><Relationship Id="rId1" Type="http://schemas.openxmlformats.org/officeDocument/2006/relationships/vmlDrawing" Target="../drawings/vmlDrawing31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10.bin"/><Relationship Id="rId4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tags" Target="../tags/tag480.xml"/><Relationship Id="rId7" Type="http://schemas.openxmlformats.org/officeDocument/2006/relationships/image" Target="../media/image24.png"/><Relationship Id="rId2" Type="http://schemas.openxmlformats.org/officeDocument/2006/relationships/tags" Target="../tags/tag479.xml"/><Relationship Id="rId1" Type="http://schemas.openxmlformats.org/officeDocument/2006/relationships/vmlDrawing" Target="../drawings/vmlDrawing311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11.bin"/><Relationship Id="rId4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tags" Target="../tags/tag482.xml"/><Relationship Id="rId7" Type="http://schemas.openxmlformats.org/officeDocument/2006/relationships/image" Target="../media/image22.png"/><Relationship Id="rId2" Type="http://schemas.openxmlformats.org/officeDocument/2006/relationships/tags" Target="../tags/tag481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12.bin"/><Relationship Id="rId4" Type="http://schemas.openxmlformats.org/officeDocument/2006/relationships/slideMaster" Target="../slideMasters/slideMaster6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tags" Target="../tags/tag484.xml"/><Relationship Id="rId7" Type="http://schemas.openxmlformats.org/officeDocument/2006/relationships/image" Target="../media/image21.png"/><Relationship Id="rId2" Type="http://schemas.openxmlformats.org/officeDocument/2006/relationships/tags" Target="../tags/tag483.xml"/><Relationship Id="rId1" Type="http://schemas.openxmlformats.org/officeDocument/2006/relationships/vmlDrawing" Target="../drawings/vmlDrawing31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13.bin"/><Relationship Id="rId4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tags" Target="../tags/tag486.xml"/><Relationship Id="rId7" Type="http://schemas.openxmlformats.org/officeDocument/2006/relationships/image" Target="../media/image22.png"/><Relationship Id="rId2" Type="http://schemas.openxmlformats.org/officeDocument/2006/relationships/tags" Target="../tags/tag485.xml"/><Relationship Id="rId1" Type="http://schemas.openxmlformats.org/officeDocument/2006/relationships/vmlDrawing" Target="../drawings/vmlDrawing3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14.bin"/><Relationship Id="rId4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tags" Target="../tags/tag488.xml"/><Relationship Id="rId7" Type="http://schemas.openxmlformats.org/officeDocument/2006/relationships/image" Target="../media/image21.png"/><Relationship Id="rId2" Type="http://schemas.openxmlformats.org/officeDocument/2006/relationships/tags" Target="../tags/tag487.xml"/><Relationship Id="rId1" Type="http://schemas.openxmlformats.org/officeDocument/2006/relationships/vmlDrawing" Target="../drawings/vmlDrawing31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15.bin"/><Relationship Id="rId4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7" Type="http://schemas.openxmlformats.org/officeDocument/2006/relationships/image" Target="../media/image22.png"/><Relationship Id="rId2" Type="http://schemas.openxmlformats.org/officeDocument/2006/relationships/tags" Target="../tags/tag489.xml"/><Relationship Id="rId1" Type="http://schemas.openxmlformats.org/officeDocument/2006/relationships/vmlDrawing" Target="../drawings/vmlDrawing31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16.bin"/><Relationship Id="rId4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tags" Target="../tags/tag492.xml"/><Relationship Id="rId2" Type="http://schemas.openxmlformats.org/officeDocument/2006/relationships/tags" Target="../tags/tag491.xml"/><Relationship Id="rId1" Type="http://schemas.openxmlformats.org/officeDocument/2006/relationships/vmlDrawing" Target="../drawings/vmlDrawing31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17.bin"/><Relationship Id="rId4" Type="http://schemas.openxmlformats.org/officeDocument/2006/relationships/slideMaster" Target="../slideMasters/slideMaster6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tags" Target="../tags/tag494.xml"/><Relationship Id="rId2" Type="http://schemas.openxmlformats.org/officeDocument/2006/relationships/tags" Target="../tags/tag493.xml"/><Relationship Id="rId1" Type="http://schemas.openxmlformats.org/officeDocument/2006/relationships/vmlDrawing" Target="../drawings/vmlDrawing31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18.bin"/><Relationship Id="rId4" Type="http://schemas.openxmlformats.org/officeDocument/2006/relationships/slideMaster" Target="../slideMasters/slideMaster6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95.xml"/><Relationship Id="rId1" Type="http://schemas.openxmlformats.org/officeDocument/2006/relationships/vmlDrawing" Target="../drawings/vmlDrawing319.vml"/><Relationship Id="rId6" Type="http://schemas.openxmlformats.org/officeDocument/2006/relationships/image" Target="../media/image25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19.bin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tags" Target="../tags/tag497.xml"/><Relationship Id="rId2" Type="http://schemas.openxmlformats.org/officeDocument/2006/relationships/tags" Target="../tags/tag496.xml"/><Relationship Id="rId1" Type="http://schemas.openxmlformats.org/officeDocument/2006/relationships/vmlDrawing" Target="../drawings/vmlDrawing32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20.bin"/><Relationship Id="rId4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98.xml"/><Relationship Id="rId1" Type="http://schemas.openxmlformats.org/officeDocument/2006/relationships/vmlDrawing" Target="../drawings/vmlDrawing3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21.bin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99.xml"/><Relationship Id="rId1" Type="http://schemas.openxmlformats.org/officeDocument/2006/relationships/vmlDrawing" Target="../drawings/vmlDrawing32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22.bin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3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23.bin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1.xml"/><Relationship Id="rId1" Type="http://schemas.openxmlformats.org/officeDocument/2006/relationships/vmlDrawing" Target="../drawings/vmlDrawing324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24.bin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25.bin"/></Relationships>
</file>

<file path=ppt/slideLayouts/_rels/slideLayout3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504.xml"/><Relationship Id="rId7" Type="http://schemas.openxmlformats.org/officeDocument/2006/relationships/image" Target="../media/image11.png"/><Relationship Id="rId2" Type="http://schemas.openxmlformats.org/officeDocument/2006/relationships/tags" Target="../tags/tag503.xml"/><Relationship Id="rId1" Type="http://schemas.openxmlformats.org/officeDocument/2006/relationships/vmlDrawing" Target="../drawings/vmlDrawing326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26.bin"/><Relationship Id="rId4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tags" Target="../tags/tag506.xml"/><Relationship Id="rId7" Type="http://schemas.openxmlformats.org/officeDocument/2006/relationships/image" Target="../media/image1.png"/><Relationship Id="rId2" Type="http://schemas.openxmlformats.org/officeDocument/2006/relationships/tags" Target="../tags/tag505.xml"/><Relationship Id="rId1" Type="http://schemas.openxmlformats.org/officeDocument/2006/relationships/vmlDrawing" Target="../drawings/vmlDrawing32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27.bin"/><Relationship Id="rId4" Type="http://schemas.openxmlformats.org/officeDocument/2006/relationships/slideMaster" Target="../slideMasters/slideMaster6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tags" Target="../tags/tag508.xml"/><Relationship Id="rId2" Type="http://schemas.openxmlformats.org/officeDocument/2006/relationships/tags" Target="../tags/tag507.xml"/><Relationship Id="rId1" Type="http://schemas.openxmlformats.org/officeDocument/2006/relationships/vmlDrawing" Target="../drawings/vmlDrawing32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28.bin"/><Relationship Id="rId4" Type="http://schemas.openxmlformats.org/officeDocument/2006/relationships/slideMaster" Target="../slideMasters/slideMaster6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tags" Target="../tags/tag510.xml"/><Relationship Id="rId2" Type="http://schemas.openxmlformats.org/officeDocument/2006/relationships/tags" Target="../tags/tag509.xml"/><Relationship Id="rId1" Type="http://schemas.openxmlformats.org/officeDocument/2006/relationships/vmlDrawing" Target="../drawings/vmlDrawing32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29.bin"/><Relationship Id="rId4" Type="http://schemas.openxmlformats.org/officeDocument/2006/relationships/slideMaster" Target="../slideMasters/slideMaster6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tags" Target="../tags/tag512.xml"/><Relationship Id="rId2" Type="http://schemas.openxmlformats.org/officeDocument/2006/relationships/tags" Target="../tags/tag511.xml"/><Relationship Id="rId1" Type="http://schemas.openxmlformats.org/officeDocument/2006/relationships/vmlDrawing" Target="../drawings/vmlDrawing33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0.bin"/><Relationship Id="rId4" Type="http://schemas.openxmlformats.org/officeDocument/2006/relationships/slideMaster" Target="../slideMasters/slideMaster6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tags" Target="../tags/tag514.xml"/><Relationship Id="rId2" Type="http://schemas.openxmlformats.org/officeDocument/2006/relationships/tags" Target="../tags/tag513.xml"/><Relationship Id="rId1" Type="http://schemas.openxmlformats.org/officeDocument/2006/relationships/vmlDrawing" Target="../drawings/vmlDrawing33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1.bin"/><Relationship Id="rId4" Type="http://schemas.openxmlformats.org/officeDocument/2006/relationships/slideMaster" Target="../slideMasters/slideMaster6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tags" Target="../tags/tag516.xml"/><Relationship Id="rId7" Type="http://schemas.openxmlformats.org/officeDocument/2006/relationships/image" Target="../media/image20.png"/><Relationship Id="rId2" Type="http://schemas.openxmlformats.org/officeDocument/2006/relationships/tags" Target="../tags/tag515.xml"/><Relationship Id="rId1" Type="http://schemas.openxmlformats.org/officeDocument/2006/relationships/vmlDrawing" Target="../drawings/vmlDrawing33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2.bin"/><Relationship Id="rId4" Type="http://schemas.openxmlformats.org/officeDocument/2006/relationships/slideMaster" Target="../slideMasters/slideMaster6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tags" Target="../tags/tag518.xml"/><Relationship Id="rId7" Type="http://schemas.openxmlformats.org/officeDocument/2006/relationships/image" Target="../media/image20.png"/><Relationship Id="rId2" Type="http://schemas.openxmlformats.org/officeDocument/2006/relationships/tags" Target="../tags/tag517.xml"/><Relationship Id="rId1" Type="http://schemas.openxmlformats.org/officeDocument/2006/relationships/vmlDrawing" Target="../drawings/vmlDrawing33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3.bin"/><Relationship Id="rId4" Type="http://schemas.openxmlformats.org/officeDocument/2006/relationships/slideMaster" Target="../slideMasters/slideMaster6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tags" Target="../tags/tag520.xml"/><Relationship Id="rId7" Type="http://schemas.openxmlformats.org/officeDocument/2006/relationships/image" Target="../media/image20.png"/><Relationship Id="rId2" Type="http://schemas.openxmlformats.org/officeDocument/2006/relationships/tags" Target="../tags/tag519.xml"/><Relationship Id="rId1" Type="http://schemas.openxmlformats.org/officeDocument/2006/relationships/vmlDrawing" Target="../drawings/vmlDrawing33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4.bin"/><Relationship Id="rId4" Type="http://schemas.openxmlformats.org/officeDocument/2006/relationships/slideMaster" Target="../slideMasters/slideMaster6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tags" Target="../tags/tag522.xml"/><Relationship Id="rId7" Type="http://schemas.openxmlformats.org/officeDocument/2006/relationships/image" Target="../media/image20.png"/><Relationship Id="rId2" Type="http://schemas.openxmlformats.org/officeDocument/2006/relationships/tags" Target="../tags/tag521.xml"/><Relationship Id="rId1" Type="http://schemas.openxmlformats.org/officeDocument/2006/relationships/vmlDrawing" Target="../drawings/vmlDrawing33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5.bin"/><Relationship Id="rId4" Type="http://schemas.openxmlformats.org/officeDocument/2006/relationships/slideMaster" Target="../slideMasters/slideMaster6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tags" Target="../tags/tag524.xml"/><Relationship Id="rId7" Type="http://schemas.openxmlformats.org/officeDocument/2006/relationships/image" Target="../media/image20.png"/><Relationship Id="rId2" Type="http://schemas.openxmlformats.org/officeDocument/2006/relationships/tags" Target="../tags/tag523.xml"/><Relationship Id="rId1" Type="http://schemas.openxmlformats.org/officeDocument/2006/relationships/vmlDrawing" Target="../drawings/vmlDrawing33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6.bin"/><Relationship Id="rId4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tags" Target="../tags/tag526.xml"/><Relationship Id="rId7" Type="http://schemas.openxmlformats.org/officeDocument/2006/relationships/image" Target="../media/image20.png"/><Relationship Id="rId2" Type="http://schemas.openxmlformats.org/officeDocument/2006/relationships/tags" Target="../tags/tag525.xml"/><Relationship Id="rId1" Type="http://schemas.openxmlformats.org/officeDocument/2006/relationships/vmlDrawing" Target="../drawings/vmlDrawing33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7.bin"/><Relationship Id="rId4" Type="http://schemas.openxmlformats.org/officeDocument/2006/relationships/slideMaster" Target="../slideMasters/slideMaster6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tags" Target="../tags/tag528.xml"/><Relationship Id="rId7" Type="http://schemas.openxmlformats.org/officeDocument/2006/relationships/image" Target="../media/image21.png"/><Relationship Id="rId2" Type="http://schemas.openxmlformats.org/officeDocument/2006/relationships/tags" Target="../tags/tag527.xml"/><Relationship Id="rId1" Type="http://schemas.openxmlformats.org/officeDocument/2006/relationships/vmlDrawing" Target="../drawings/vmlDrawing338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38.bin"/><Relationship Id="rId4" Type="http://schemas.openxmlformats.org/officeDocument/2006/relationships/slideMaster" Target="../slideMasters/slideMaster6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tags" Target="../tags/tag530.xml"/><Relationship Id="rId7" Type="http://schemas.openxmlformats.org/officeDocument/2006/relationships/image" Target="../media/image22.png"/><Relationship Id="rId2" Type="http://schemas.openxmlformats.org/officeDocument/2006/relationships/tags" Target="../tags/tag529.xml"/><Relationship Id="rId1" Type="http://schemas.openxmlformats.org/officeDocument/2006/relationships/vmlDrawing" Target="../drawings/vmlDrawing33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9.bin"/><Relationship Id="rId4" Type="http://schemas.openxmlformats.org/officeDocument/2006/relationships/slideMaster" Target="../slideMasters/slideMaster6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tags" Target="../tags/tag532.xml"/><Relationship Id="rId7" Type="http://schemas.openxmlformats.org/officeDocument/2006/relationships/image" Target="../media/image24.png"/><Relationship Id="rId2" Type="http://schemas.openxmlformats.org/officeDocument/2006/relationships/tags" Target="../tags/tag531.xml"/><Relationship Id="rId1" Type="http://schemas.openxmlformats.org/officeDocument/2006/relationships/vmlDrawing" Target="../drawings/vmlDrawing34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0.bin"/><Relationship Id="rId4" Type="http://schemas.openxmlformats.org/officeDocument/2006/relationships/slideMaster" Target="../slideMasters/slideMaster6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tags" Target="../tags/tag534.xml"/><Relationship Id="rId7" Type="http://schemas.openxmlformats.org/officeDocument/2006/relationships/image" Target="../media/image22.png"/><Relationship Id="rId2" Type="http://schemas.openxmlformats.org/officeDocument/2006/relationships/tags" Target="../tags/tag533.xml"/><Relationship Id="rId1" Type="http://schemas.openxmlformats.org/officeDocument/2006/relationships/vmlDrawing" Target="../drawings/vmlDrawing34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1.bin"/><Relationship Id="rId4" Type="http://schemas.openxmlformats.org/officeDocument/2006/relationships/slideMaster" Target="../slideMasters/slideMaster6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tags" Target="../tags/tag536.xml"/><Relationship Id="rId7" Type="http://schemas.openxmlformats.org/officeDocument/2006/relationships/image" Target="../media/image21.png"/><Relationship Id="rId2" Type="http://schemas.openxmlformats.org/officeDocument/2006/relationships/tags" Target="../tags/tag535.xml"/><Relationship Id="rId1" Type="http://schemas.openxmlformats.org/officeDocument/2006/relationships/vmlDrawing" Target="../drawings/vmlDrawing34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2.bin"/><Relationship Id="rId4" Type="http://schemas.openxmlformats.org/officeDocument/2006/relationships/slideMaster" Target="../slideMasters/slideMaster6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tags" Target="../tags/tag538.xml"/><Relationship Id="rId7" Type="http://schemas.openxmlformats.org/officeDocument/2006/relationships/image" Target="../media/image22.png"/><Relationship Id="rId2" Type="http://schemas.openxmlformats.org/officeDocument/2006/relationships/tags" Target="../tags/tag537.xml"/><Relationship Id="rId1" Type="http://schemas.openxmlformats.org/officeDocument/2006/relationships/vmlDrawing" Target="../drawings/vmlDrawing34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3.bin"/><Relationship Id="rId4" Type="http://schemas.openxmlformats.org/officeDocument/2006/relationships/slideMaster" Target="../slideMasters/slideMaster6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tags" Target="../tags/tag540.xml"/><Relationship Id="rId7" Type="http://schemas.openxmlformats.org/officeDocument/2006/relationships/image" Target="../media/image21.png"/><Relationship Id="rId2" Type="http://schemas.openxmlformats.org/officeDocument/2006/relationships/tags" Target="../tags/tag539.xml"/><Relationship Id="rId1" Type="http://schemas.openxmlformats.org/officeDocument/2006/relationships/vmlDrawing" Target="../drawings/vmlDrawing34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4.bin"/><Relationship Id="rId4" Type="http://schemas.openxmlformats.org/officeDocument/2006/relationships/slideMaster" Target="../slideMasters/slideMaster6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tags" Target="../tags/tag542.xml"/><Relationship Id="rId7" Type="http://schemas.openxmlformats.org/officeDocument/2006/relationships/image" Target="../media/image22.png"/><Relationship Id="rId2" Type="http://schemas.openxmlformats.org/officeDocument/2006/relationships/tags" Target="../tags/tag541.xml"/><Relationship Id="rId1" Type="http://schemas.openxmlformats.org/officeDocument/2006/relationships/vmlDrawing" Target="../drawings/vmlDrawing34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5.bin"/><Relationship Id="rId4" Type="http://schemas.openxmlformats.org/officeDocument/2006/relationships/slideMaster" Target="../slideMasters/slideMaster6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tags" Target="../tags/tag544.xml"/><Relationship Id="rId2" Type="http://schemas.openxmlformats.org/officeDocument/2006/relationships/tags" Target="../tags/tag543.xml"/><Relationship Id="rId1" Type="http://schemas.openxmlformats.org/officeDocument/2006/relationships/vmlDrawing" Target="../drawings/vmlDrawing34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6.bin"/><Relationship Id="rId4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tags" Target="../tags/tag546.xml"/><Relationship Id="rId2" Type="http://schemas.openxmlformats.org/officeDocument/2006/relationships/tags" Target="../tags/tag545.xml"/><Relationship Id="rId1" Type="http://schemas.openxmlformats.org/officeDocument/2006/relationships/vmlDrawing" Target="../drawings/vmlDrawing34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7.bin"/><Relationship Id="rId4" Type="http://schemas.openxmlformats.org/officeDocument/2006/relationships/slideMaster" Target="../slideMasters/slideMaster6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47.xml"/><Relationship Id="rId1" Type="http://schemas.openxmlformats.org/officeDocument/2006/relationships/vmlDrawing" Target="../drawings/vmlDrawing348.vml"/><Relationship Id="rId6" Type="http://schemas.openxmlformats.org/officeDocument/2006/relationships/image" Target="../media/image2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48.bin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tags" Target="../tags/tag549.xml"/><Relationship Id="rId2" Type="http://schemas.openxmlformats.org/officeDocument/2006/relationships/tags" Target="../tags/tag548.xml"/><Relationship Id="rId1" Type="http://schemas.openxmlformats.org/officeDocument/2006/relationships/vmlDrawing" Target="../drawings/vmlDrawing34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9.bin"/><Relationship Id="rId4" Type="http://schemas.openxmlformats.org/officeDocument/2006/relationships/slideMaster" Target="../slideMasters/slideMaster6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0.xml"/><Relationship Id="rId1" Type="http://schemas.openxmlformats.org/officeDocument/2006/relationships/vmlDrawing" Target="../drawings/vmlDrawing350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50.bin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1.xml"/><Relationship Id="rId1" Type="http://schemas.openxmlformats.org/officeDocument/2006/relationships/vmlDrawing" Target="../drawings/vmlDrawing35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51.bin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2.xml"/><Relationship Id="rId1" Type="http://schemas.openxmlformats.org/officeDocument/2006/relationships/vmlDrawing" Target="../drawings/vmlDrawing35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52.bin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3.xml"/><Relationship Id="rId1" Type="http://schemas.openxmlformats.org/officeDocument/2006/relationships/vmlDrawing" Target="../drawings/vmlDrawing35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53.bin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4.xml"/><Relationship Id="rId1" Type="http://schemas.openxmlformats.org/officeDocument/2006/relationships/vmlDrawing" Target="../drawings/vmlDrawing354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54.bin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5.xml"/><Relationship Id="rId1" Type="http://schemas.openxmlformats.org/officeDocument/2006/relationships/vmlDrawing" Target="../drawings/vmlDrawing35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55.bin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tags" Target="../tags/tag557.xml"/><Relationship Id="rId2" Type="http://schemas.openxmlformats.org/officeDocument/2006/relationships/tags" Target="../tags/tag556.xml"/><Relationship Id="rId1" Type="http://schemas.openxmlformats.org/officeDocument/2006/relationships/vmlDrawing" Target="../drawings/vmlDrawing35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56.bin"/><Relationship Id="rId4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8.xml"/><Relationship Id="rId1" Type="http://schemas.openxmlformats.org/officeDocument/2006/relationships/vmlDrawing" Target="../drawings/vmlDrawing35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57.bin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9.xml"/><Relationship Id="rId1" Type="http://schemas.openxmlformats.org/officeDocument/2006/relationships/vmlDrawing" Target="../drawings/vmlDrawing35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58.bin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0.xml"/><Relationship Id="rId1" Type="http://schemas.openxmlformats.org/officeDocument/2006/relationships/vmlDrawing" Target="../drawings/vmlDrawing359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59.bin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tags" Target="../tags/tag562.xml"/><Relationship Id="rId2" Type="http://schemas.openxmlformats.org/officeDocument/2006/relationships/tags" Target="../tags/tag561.xml"/><Relationship Id="rId1" Type="http://schemas.openxmlformats.org/officeDocument/2006/relationships/vmlDrawing" Target="../drawings/vmlDrawing36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60.bin"/><Relationship Id="rId4" Type="http://schemas.openxmlformats.org/officeDocument/2006/relationships/slideMaster" Target="../slideMasters/slideMaster6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3.xml"/><Relationship Id="rId1" Type="http://schemas.openxmlformats.org/officeDocument/2006/relationships/vmlDrawing" Target="../drawings/vmlDrawing36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61.bin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4.xml"/><Relationship Id="rId1" Type="http://schemas.openxmlformats.org/officeDocument/2006/relationships/vmlDrawing" Target="../drawings/vmlDrawing36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62.bin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5.xml"/><Relationship Id="rId1" Type="http://schemas.openxmlformats.org/officeDocument/2006/relationships/vmlDrawing" Target="../drawings/vmlDrawing363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63.bin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6.xml"/><Relationship Id="rId1" Type="http://schemas.openxmlformats.org/officeDocument/2006/relationships/vmlDrawing" Target="../drawings/vmlDrawing364.v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64.bin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7.xml"/><Relationship Id="rId1" Type="http://schemas.openxmlformats.org/officeDocument/2006/relationships/vmlDrawing" Target="../drawings/vmlDrawing365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65.bin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8.xml"/><Relationship Id="rId1" Type="http://schemas.openxmlformats.org/officeDocument/2006/relationships/vmlDrawing" Target="../drawings/vmlDrawing366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6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png"/></Relationships>
</file>

<file path=ppt/slideLayouts/_rels/slideLayout4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572.xml"/><Relationship Id="rId7" Type="http://schemas.openxmlformats.org/officeDocument/2006/relationships/image" Target="../media/image11.png"/><Relationship Id="rId2" Type="http://schemas.openxmlformats.org/officeDocument/2006/relationships/tags" Target="../tags/tag571.xml"/><Relationship Id="rId1" Type="http://schemas.openxmlformats.org/officeDocument/2006/relationships/vmlDrawing" Target="../drawings/vmlDrawing36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68.bin"/><Relationship Id="rId4" Type="http://schemas.openxmlformats.org/officeDocument/2006/relationships/slideMaster" Target="../slideMasters/slideMaster7.xml"/></Relationships>
</file>

<file path=ppt/slideLayouts/_rels/slideLayout4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574.xml"/><Relationship Id="rId7" Type="http://schemas.openxmlformats.org/officeDocument/2006/relationships/image" Target="../media/image10.png"/><Relationship Id="rId2" Type="http://schemas.openxmlformats.org/officeDocument/2006/relationships/tags" Target="../tags/tag573.xml"/><Relationship Id="rId1" Type="http://schemas.openxmlformats.org/officeDocument/2006/relationships/vmlDrawing" Target="../drawings/vmlDrawing36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69.bin"/><Relationship Id="rId4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tags" Target="../tags/tag576.xml"/><Relationship Id="rId7" Type="http://schemas.openxmlformats.org/officeDocument/2006/relationships/image" Target="../media/image1.png"/><Relationship Id="rId2" Type="http://schemas.openxmlformats.org/officeDocument/2006/relationships/tags" Target="../tags/tag575.xml"/><Relationship Id="rId1" Type="http://schemas.openxmlformats.org/officeDocument/2006/relationships/vmlDrawing" Target="../drawings/vmlDrawing37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0.bin"/><Relationship Id="rId4" Type="http://schemas.openxmlformats.org/officeDocument/2006/relationships/slideMaster" Target="../slideMasters/slideMaster7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tags" Target="../tags/tag578.xml"/><Relationship Id="rId7" Type="http://schemas.openxmlformats.org/officeDocument/2006/relationships/image" Target="../media/image1.png"/><Relationship Id="rId2" Type="http://schemas.openxmlformats.org/officeDocument/2006/relationships/tags" Target="../tags/tag577.xml"/><Relationship Id="rId1" Type="http://schemas.openxmlformats.org/officeDocument/2006/relationships/vmlDrawing" Target="../drawings/vmlDrawing37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1.bin"/><Relationship Id="rId4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tags" Target="../tags/tag580.xml"/><Relationship Id="rId2" Type="http://schemas.openxmlformats.org/officeDocument/2006/relationships/tags" Target="../tags/tag579.xml"/><Relationship Id="rId1" Type="http://schemas.openxmlformats.org/officeDocument/2006/relationships/vmlDrawing" Target="../drawings/vmlDrawing37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2.bin"/><Relationship Id="rId4" Type="http://schemas.openxmlformats.org/officeDocument/2006/relationships/slideMaster" Target="../slideMasters/slideMaster7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tags" Target="../tags/tag582.xml"/><Relationship Id="rId2" Type="http://schemas.openxmlformats.org/officeDocument/2006/relationships/tags" Target="../tags/tag581.xml"/><Relationship Id="rId1" Type="http://schemas.openxmlformats.org/officeDocument/2006/relationships/vmlDrawing" Target="../drawings/vmlDrawing37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3.bin"/><Relationship Id="rId4" Type="http://schemas.openxmlformats.org/officeDocument/2006/relationships/slideMaster" Target="../slideMasters/slideMaster7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tags" Target="../tags/tag584.xml"/><Relationship Id="rId2" Type="http://schemas.openxmlformats.org/officeDocument/2006/relationships/tags" Target="../tags/tag583.xml"/><Relationship Id="rId1" Type="http://schemas.openxmlformats.org/officeDocument/2006/relationships/vmlDrawing" Target="../drawings/vmlDrawing37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4.bin"/><Relationship Id="rId4" Type="http://schemas.openxmlformats.org/officeDocument/2006/relationships/slideMaster" Target="../slideMasters/slideMaster7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tags" Target="../tags/tag586.xml"/><Relationship Id="rId2" Type="http://schemas.openxmlformats.org/officeDocument/2006/relationships/tags" Target="../tags/tag585.xml"/><Relationship Id="rId1" Type="http://schemas.openxmlformats.org/officeDocument/2006/relationships/vmlDrawing" Target="../drawings/vmlDrawing37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5.bin"/><Relationship Id="rId4" Type="http://schemas.openxmlformats.org/officeDocument/2006/relationships/slideMaster" Target="../slideMasters/slideMaster7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tags" Target="../tags/tag588.xml"/><Relationship Id="rId7" Type="http://schemas.openxmlformats.org/officeDocument/2006/relationships/image" Target="../media/image20.png"/><Relationship Id="rId2" Type="http://schemas.openxmlformats.org/officeDocument/2006/relationships/tags" Target="../tags/tag587.xml"/><Relationship Id="rId1" Type="http://schemas.openxmlformats.org/officeDocument/2006/relationships/vmlDrawing" Target="../drawings/vmlDrawing37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6.bin"/><Relationship Id="rId4" Type="http://schemas.openxmlformats.org/officeDocument/2006/relationships/slideMaster" Target="../slideMasters/slideMaster7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tags" Target="../tags/tag590.xml"/><Relationship Id="rId7" Type="http://schemas.openxmlformats.org/officeDocument/2006/relationships/image" Target="../media/image20.png"/><Relationship Id="rId2" Type="http://schemas.openxmlformats.org/officeDocument/2006/relationships/tags" Target="../tags/tag589.xml"/><Relationship Id="rId1" Type="http://schemas.openxmlformats.org/officeDocument/2006/relationships/vmlDrawing" Target="../drawings/vmlDrawing37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7.bin"/><Relationship Id="rId4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7" Type="http://schemas.openxmlformats.org/officeDocument/2006/relationships/image" Target="../media/image20.png"/><Relationship Id="rId2" Type="http://schemas.openxmlformats.org/officeDocument/2006/relationships/tags" Target="../tags/tag591.xml"/><Relationship Id="rId1" Type="http://schemas.openxmlformats.org/officeDocument/2006/relationships/vmlDrawing" Target="../drawings/vmlDrawing37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8.bin"/><Relationship Id="rId4" Type="http://schemas.openxmlformats.org/officeDocument/2006/relationships/slideMaster" Target="../slideMasters/slideMaster7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tags" Target="../tags/tag594.xml"/><Relationship Id="rId7" Type="http://schemas.openxmlformats.org/officeDocument/2006/relationships/image" Target="../media/image20.png"/><Relationship Id="rId2" Type="http://schemas.openxmlformats.org/officeDocument/2006/relationships/tags" Target="../tags/tag593.xml"/><Relationship Id="rId1" Type="http://schemas.openxmlformats.org/officeDocument/2006/relationships/vmlDrawing" Target="../drawings/vmlDrawing37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9.bin"/><Relationship Id="rId4" Type="http://schemas.openxmlformats.org/officeDocument/2006/relationships/slideMaster" Target="../slideMasters/slideMaster7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tags" Target="../tags/tag596.xml"/><Relationship Id="rId7" Type="http://schemas.openxmlformats.org/officeDocument/2006/relationships/image" Target="../media/image20.png"/><Relationship Id="rId2" Type="http://schemas.openxmlformats.org/officeDocument/2006/relationships/tags" Target="../tags/tag595.xml"/><Relationship Id="rId1" Type="http://schemas.openxmlformats.org/officeDocument/2006/relationships/vmlDrawing" Target="../drawings/vmlDrawing38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0.bin"/><Relationship Id="rId4" Type="http://schemas.openxmlformats.org/officeDocument/2006/relationships/slideMaster" Target="../slideMasters/slideMaster7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tags" Target="../tags/tag598.xml"/><Relationship Id="rId7" Type="http://schemas.openxmlformats.org/officeDocument/2006/relationships/image" Target="../media/image21.png"/><Relationship Id="rId2" Type="http://schemas.openxmlformats.org/officeDocument/2006/relationships/tags" Target="../tags/tag597.xml"/><Relationship Id="rId1" Type="http://schemas.openxmlformats.org/officeDocument/2006/relationships/vmlDrawing" Target="../drawings/vmlDrawing38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1.bin"/><Relationship Id="rId4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tags" Target="../tags/tag600.xml"/><Relationship Id="rId7" Type="http://schemas.openxmlformats.org/officeDocument/2006/relationships/image" Target="../media/image22.png"/><Relationship Id="rId2" Type="http://schemas.openxmlformats.org/officeDocument/2006/relationships/tags" Target="../tags/tag599.xml"/><Relationship Id="rId1" Type="http://schemas.openxmlformats.org/officeDocument/2006/relationships/vmlDrawing" Target="../drawings/vmlDrawing38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2.bin"/><Relationship Id="rId4" Type="http://schemas.openxmlformats.org/officeDocument/2006/relationships/slideMaster" Target="../slideMasters/slideMaster7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tags" Target="../tags/tag602.xml"/><Relationship Id="rId7" Type="http://schemas.openxmlformats.org/officeDocument/2006/relationships/image" Target="../media/image24.png"/><Relationship Id="rId2" Type="http://schemas.openxmlformats.org/officeDocument/2006/relationships/tags" Target="../tags/tag601.xml"/><Relationship Id="rId1" Type="http://schemas.openxmlformats.org/officeDocument/2006/relationships/vmlDrawing" Target="../drawings/vmlDrawing383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83.bin"/><Relationship Id="rId4" Type="http://schemas.openxmlformats.org/officeDocument/2006/relationships/slideMaster" Target="../slideMasters/slideMaster7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tags" Target="../tags/tag604.xml"/><Relationship Id="rId7" Type="http://schemas.openxmlformats.org/officeDocument/2006/relationships/image" Target="../media/image22.png"/><Relationship Id="rId2" Type="http://schemas.openxmlformats.org/officeDocument/2006/relationships/tags" Target="../tags/tag603.xml"/><Relationship Id="rId1" Type="http://schemas.openxmlformats.org/officeDocument/2006/relationships/vmlDrawing" Target="../drawings/vmlDrawing38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4.bin"/><Relationship Id="rId4" Type="http://schemas.openxmlformats.org/officeDocument/2006/relationships/slideMaster" Target="../slideMasters/slideMaster7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tags" Target="../tags/tag606.xml"/><Relationship Id="rId7" Type="http://schemas.openxmlformats.org/officeDocument/2006/relationships/image" Target="../media/image21.png"/><Relationship Id="rId2" Type="http://schemas.openxmlformats.org/officeDocument/2006/relationships/tags" Target="../tags/tag605.xml"/><Relationship Id="rId1" Type="http://schemas.openxmlformats.org/officeDocument/2006/relationships/vmlDrawing" Target="../drawings/vmlDrawing38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5.bin"/><Relationship Id="rId4" Type="http://schemas.openxmlformats.org/officeDocument/2006/relationships/slideMaster" Target="../slideMasters/slideMaster7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tags" Target="../tags/tag608.xml"/><Relationship Id="rId7" Type="http://schemas.openxmlformats.org/officeDocument/2006/relationships/image" Target="../media/image22.png"/><Relationship Id="rId2" Type="http://schemas.openxmlformats.org/officeDocument/2006/relationships/tags" Target="../tags/tag607.xml"/><Relationship Id="rId1" Type="http://schemas.openxmlformats.org/officeDocument/2006/relationships/vmlDrawing" Target="../drawings/vmlDrawing38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6.bin"/><Relationship Id="rId4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tags" Target="../tags/tag610.xml"/><Relationship Id="rId7" Type="http://schemas.openxmlformats.org/officeDocument/2006/relationships/image" Target="../media/image21.png"/><Relationship Id="rId2" Type="http://schemas.openxmlformats.org/officeDocument/2006/relationships/tags" Target="../tags/tag609.xml"/><Relationship Id="rId1" Type="http://schemas.openxmlformats.org/officeDocument/2006/relationships/vmlDrawing" Target="../drawings/vmlDrawing38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7.bin"/><Relationship Id="rId4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tags" Target="../tags/tag612.xml"/><Relationship Id="rId7" Type="http://schemas.openxmlformats.org/officeDocument/2006/relationships/image" Target="../media/image22.png"/><Relationship Id="rId2" Type="http://schemas.openxmlformats.org/officeDocument/2006/relationships/tags" Target="../tags/tag611.xml"/><Relationship Id="rId1" Type="http://schemas.openxmlformats.org/officeDocument/2006/relationships/vmlDrawing" Target="../drawings/vmlDrawing38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8.bin"/><Relationship Id="rId4" Type="http://schemas.openxmlformats.org/officeDocument/2006/relationships/slideMaster" Target="../slideMasters/slideMaster7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tags" Target="../tags/tag614.xml"/><Relationship Id="rId2" Type="http://schemas.openxmlformats.org/officeDocument/2006/relationships/tags" Target="../tags/tag613.xml"/><Relationship Id="rId1" Type="http://schemas.openxmlformats.org/officeDocument/2006/relationships/vmlDrawing" Target="../drawings/vmlDrawing38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9.bin"/><Relationship Id="rId4" Type="http://schemas.openxmlformats.org/officeDocument/2006/relationships/slideMaster" Target="../slideMasters/slideMaster7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tags" Target="../tags/tag616.xml"/><Relationship Id="rId2" Type="http://schemas.openxmlformats.org/officeDocument/2006/relationships/tags" Target="../tags/tag615.xml"/><Relationship Id="rId1" Type="http://schemas.openxmlformats.org/officeDocument/2006/relationships/vmlDrawing" Target="../drawings/vmlDrawing39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90.bin"/><Relationship Id="rId4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17.xml"/><Relationship Id="rId1" Type="http://schemas.openxmlformats.org/officeDocument/2006/relationships/vmlDrawing" Target="../drawings/vmlDrawing391.vml"/><Relationship Id="rId6" Type="http://schemas.openxmlformats.org/officeDocument/2006/relationships/image" Target="../media/image25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91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tags" Target="../tags/tag619.xml"/><Relationship Id="rId2" Type="http://schemas.openxmlformats.org/officeDocument/2006/relationships/tags" Target="../tags/tag618.xml"/><Relationship Id="rId1" Type="http://schemas.openxmlformats.org/officeDocument/2006/relationships/vmlDrawing" Target="../drawings/vmlDrawing39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92.bin"/><Relationship Id="rId4" Type="http://schemas.openxmlformats.org/officeDocument/2006/relationships/slideMaster" Target="../slideMasters/slideMaster7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0.xml"/><Relationship Id="rId1" Type="http://schemas.openxmlformats.org/officeDocument/2006/relationships/vmlDrawing" Target="../drawings/vmlDrawing39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3.bin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1.xml"/><Relationship Id="rId1" Type="http://schemas.openxmlformats.org/officeDocument/2006/relationships/vmlDrawing" Target="../drawings/vmlDrawing39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4.bin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2.xml"/><Relationship Id="rId1" Type="http://schemas.openxmlformats.org/officeDocument/2006/relationships/vmlDrawing" Target="../drawings/vmlDrawing39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5.bin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3.xml"/><Relationship Id="rId1" Type="http://schemas.openxmlformats.org/officeDocument/2006/relationships/vmlDrawing" Target="../drawings/vmlDrawing396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96.bin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4.xml"/><Relationship Id="rId1" Type="http://schemas.openxmlformats.org/officeDocument/2006/relationships/vmlDrawing" Target="../drawings/vmlDrawing39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7.bin"/></Relationships>
</file>

<file path=ppt/slideLayouts/_rels/slideLayout4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626.xml"/><Relationship Id="rId7" Type="http://schemas.openxmlformats.org/officeDocument/2006/relationships/image" Target="../media/image11.png"/><Relationship Id="rId2" Type="http://schemas.openxmlformats.org/officeDocument/2006/relationships/tags" Target="../tags/tag625.xml"/><Relationship Id="rId1" Type="http://schemas.openxmlformats.org/officeDocument/2006/relationships/vmlDrawing" Target="../drawings/vmlDrawing39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98.bin"/><Relationship Id="rId4" Type="http://schemas.openxmlformats.org/officeDocument/2006/relationships/slideMaster" Target="../slideMasters/slideMaster7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tags" Target="../tags/tag628.xml"/><Relationship Id="rId7" Type="http://schemas.openxmlformats.org/officeDocument/2006/relationships/image" Target="../media/image1.png"/><Relationship Id="rId2" Type="http://schemas.openxmlformats.org/officeDocument/2006/relationships/tags" Target="../tags/tag627.xml"/><Relationship Id="rId1" Type="http://schemas.openxmlformats.org/officeDocument/2006/relationships/vmlDrawing" Target="../drawings/vmlDrawing39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99.bin"/><Relationship Id="rId4" Type="http://schemas.openxmlformats.org/officeDocument/2006/relationships/slideMaster" Target="../slideMasters/slideMaster7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tags" Target="../tags/tag630.xml"/><Relationship Id="rId2" Type="http://schemas.openxmlformats.org/officeDocument/2006/relationships/tags" Target="../tags/tag629.xml"/><Relationship Id="rId1" Type="http://schemas.openxmlformats.org/officeDocument/2006/relationships/vmlDrawing" Target="../drawings/vmlDrawing40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0.bin"/><Relationship Id="rId4" Type="http://schemas.openxmlformats.org/officeDocument/2006/relationships/slideMaster" Target="../slideMasters/slideMaster7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tags" Target="../tags/tag632.xml"/><Relationship Id="rId2" Type="http://schemas.openxmlformats.org/officeDocument/2006/relationships/tags" Target="../tags/tag631.xml"/><Relationship Id="rId1" Type="http://schemas.openxmlformats.org/officeDocument/2006/relationships/vmlDrawing" Target="../drawings/vmlDrawing40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1.bin"/><Relationship Id="rId4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tags" Target="../tags/tag634.xml"/><Relationship Id="rId2" Type="http://schemas.openxmlformats.org/officeDocument/2006/relationships/tags" Target="../tags/tag633.xml"/><Relationship Id="rId1" Type="http://schemas.openxmlformats.org/officeDocument/2006/relationships/vmlDrawing" Target="../drawings/vmlDrawing40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2.bin"/><Relationship Id="rId4" Type="http://schemas.openxmlformats.org/officeDocument/2006/relationships/slideMaster" Target="../slideMasters/slideMaster7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tags" Target="../tags/tag636.xml"/><Relationship Id="rId2" Type="http://schemas.openxmlformats.org/officeDocument/2006/relationships/tags" Target="../tags/tag635.xml"/><Relationship Id="rId1" Type="http://schemas.openxmlformats.org/officeDocument/2006/relationships/vmlDrawing" Target="../drawings/vmlDrawing40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3.bin"/><Relationship Id="rId4" Type="http://schemas.openxmlformats.org/officeDocument/2006/relationships/slideMaster" Target="../slideMasters/slideMaster7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tags" Target="../tags/tag638.xml"/><Relationship Id="rId7" Type="http://schemas.openxmlformats.org/officeDocument/2006/relationships/image" Target="../media/image20.png"/><Relationship Id="rId2" Type="http://schemas.openxmlformats.org/officeDocument/2006/relationships/tags" Target="../tags/tag637.xml"/><Relationship Id="rId1" Type="http://schemas.openxmlformats.org/officeDocument/2006/relationships/vmlDrawing" Target="../drawings/vmlDrawing40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4.bin"/><Relationship Id="rId4" Type="http://schemas.openxmlformats.org/officeDocument/2006/relationships/slideMaster" Target="../slideMasters/slideMaster7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tags" Target="../tags/tag640.xml"/><Relationship Id="rId7" Type="http://schemas.openxmlformats.org/officeDocument/2006/relationships/image" Target="../media/image20.png"/><Relationship Id="rId2" Type="http://schemas.openxmlformats.org/officeDocument/2006/relationships/tags" Target="../tags/tag639.xml"/><Relationship Id="rId1" Type="http://schemas.openxmlformats.org/officeDocument/2006/relationships/vmlDrawing" Target="../drawings/vmlDrawing40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5.bin"/><Relationship Id="rId4" Type="http://schemas.openxmlformats.org/officeDocument/2006/relationships/slideMaster" Target="../slideMasters/slideMaster7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tags" Target="../tags/tag642.xml"/><Relationship Id="rId7" Type="http://schemas.openxmlformats.org/officeDocument/2006/relationships/image" Target="../media/image20.png"/><Relationship Id="rId2" Type="http://schemas.openxmlformats.org/officeDocument/2006/relationships/tags" Target="../tags/tag641.xml"/><Relationship Id="rId1" Type="http://schemas.openxmlformats.org/officeDocument/2006/relationships/vmlDrawing" Target="../drawings/vmlDrawing40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6.bin"/><Relationship Id="rId4" Type="http://schemas.openxmlformats.org/officeDocument/2006/relationships/slideMaster" Target="../slideMasters/slideMaster7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tags" Target="../tags/tag644.xml"/><Relationship Id="rId7" Type="http://schemas.openxmlformats.org/officeDocument/2006/relationships/image" Target="../media/image20.png"/><Relationship Id="rId2" Type="http://schemas.openxmlformats.org/officeDocument/2006/relationships/tags" Target="../tags/tag643.xml"/><Relationship Id="rId1" Type="http://schemas.openxmlformats.org/officeDocument/2006/relationships/vmlDrawing" Target="../drawings/vmlDrawing40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7.bin"/><Relationship Id="rId4" Type="http://schemas.openxmlformats.org/officeDocument/2006/relationships/slideMaster" Target="../slideMasters/slideMaster7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tags" Target="../tags/tag646.xml"/><Relationship Id="rId7" Type="http://schemas.openxmlformats.org/officeDocument/2006/relationships/image" Target="../media/image20.png"/><Relationship Id="rId2" Type="http://schemas.openxmlformats.org/officeDocument/2006/relationships/tags" Target="../tags/tag645.xml"/><Relationship Id="rId1" Type="http://schemas.openxmlformats.org/officeDocument/2006/relationships/vmlDrawing" Target="../drawings/vmlDrawing40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8.bin"/><Relationship Id="rId4" Type="http://schemas.openxmlformats.org/officeDocument/2006/relationships/slideMaster" Target="../slideMasters/slideMaster7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tags" Target="../tags/tag648.xml"/><Relationship Id="rId7" Type="http://schemas.openxmlformats.org/officeDocument/2006/relationships/image" Target="../media/image20.png"/><Relationship Id="rId2" Type="http://schemas.openxmlformats.org/officeDocument/2006/relationships/tags" Target="../tags/tag647.xml"/><Relationship Id="rId1" Type="http://schemas.openxmlformats.org/officeDocument/2006/relationships/vmlDrawing" Target="../drawings/vmlDrawing40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9.bin"/><Relationship Id="rId4" Type="http://schemas.openxmlformats.org/officeDocument/2006/relationships/slideMaster" Target="../slideMasters/slideMaster7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tags" Target="../tags/tag650.xml"/><Relationship Id="rId7" Type="http://schemas.openxmlformats.org/officeDocument/2006/relationships/image" Target="../media/image21.png"/><Relationship Id="rId2" Type="http://schemas.openxmlformats.org/officeDocument/2006/relationships/tags" Target="../tags/tag649.xml"/><Relationship Id="rId1" Type="http://schemas.openxmlformats.org/officeDocument/2006/relationships/vmlDrawing" Target="../drawings/vmlDrawing41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10.bin"/><Relationship Id="rId4" Type="http://schemas.openxmlformats.org/officeDocument/2006/relationships/slideMaster" Target="../slideMasters/slideMaster7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tags" Target="../tags/tag652.xml"/><Relationship Id="rId7" Type="http://schemas.openxmlformats.org/officeDocument/2006/relationships/image" Target="../media/image22.png"/><Relationship Id="rId2" Type="http://schemas.openxmlformats.org/officeDocument/2006/relationships/tags" Target="../tags/tag651.xml"/><Relationship Id="rId1" Type="http://schemas.openxmlformats.org/officeDocument/2006/relationships/vmlDrawing" Target="../drawings/vmlDrawing41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1.bin"/><Relationship Id="rId4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tags" Target="../tags/tag654.xml"/><Relationship Id="rId7" Type="http://schemas.openxmlformats.org/officeDocument/2006/relationships/image" Target="../media/image24.png"/><Relationship Id="rId2" Type="http://schemas.openxmlformats.org/officeDocument/2006/relationships/tags" Target="../tags/tag653.xml"/><Relationship Id="rId1" Type="http://schemas.openxmlformats.org/officeDocument/2006/relationships/vmlDrawing" Target="../drawings/vmlDrawing41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2.bin"/><Relationship Id="rId4" Type="http://schemas.openxmlformats.org/officeDocument/2006/relationships/slideMaster" Target="../slideMasters/slideMaster7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tags" Target="../tags/tag656.xml"/><Relationship Id="rId7" Type="http://schemas.openxmlformats.org/officeDocument/2006/relationships/image" Target="../media/image22.png"/><Relationship Id="rId2" Type="http://schemas.openxmlformats.org/officeDocument/2006/relationships/tags" Target="../tags/tag655.xml"/><Relationship Id="rId1" Type="http://schemas.openxmlformats.org/officeDocument/2006/relationships/vmlDrawing" Target="../drawings/vmlDrawing41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3.bin"/><Relationship Id="rId4" Type="http://schemas.openxmlformats.org/officeDocument/2006/relationships/slideMaster" Target="../slideMasters/slideMaster7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tags" Target="../tags/tag658.xml"/><Relationship Id="rId7" Type="http://schemas.openxmlformats.org/officeDocument/2006/relationships/image" Target="../media/image21.png"/><Relationship Id="rId2" Type="http://schemas.openxmlformats.org/officeDocument/2006/relationships/tags" Target="../tags/tag657.xml"/><Relationship Id="rId1" Type="http://schemas.openxmlformats.org/officeDocument/2006/relationships/vmlDrawing" Target="../drawings/vmlDrawing4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4.bin"/><Relationship Id="rId4" Type="http://schemas.openxmlformats.org/officeDocument/2006/relationships/slideMaster" Target="../slideMasters/slideMaster7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tags" Target="../tags/tag660.xml"/><Relationship Id="rId7" Type="http://schemas.openxmlformats.org/officeDocument/2006/relationships/image" Target="../media/image22.png"/><Relationship Id="rId2" Type="http://schemas.openxmlformats.org/officeDocument/2006/relationships/tags" Target="../tags/tag659.xml"/><Relationship Id="rId1" Type="http://schemas.openxmlformats.org/officeDocument/2006/relationships/vmlDrawing" Target="../drawings/vmlDrawing41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5.bin"/><Relationship Id="rId4" Type="http://schemas.openxmlformats.org/officeDocument/2006/relationships/slideMaster" Target="../slideMasters/slideMaster7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tags" Target="../tags/tag662.xml"/><Relationship Id="rId7" Type="http://schemas.openxmlformats.org/officeDocument/2006/relationships/image" Target="../media/image21.png"/><Relationship Id="rId2" Type="http://schemas.openxmlformats.org/officeDocument/2006/relationships/tags" Target="../tags/tag661.xml"/><Relationship Id="rId1" Type="http://schemas.openxmlformats.org/officeDocument/2006/relationships/vmlDrawing" Target="../drawings/vmlDrawing41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6.bin"/><Relationship Id="rId4" Type="http://schemas.openxmlformats.org/officeDocument/2006/relationships/slideMaster" Target="../slideMasters/slideMaster7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tags" Target="../tags/tag664.xml"/><Relationship Id="rId7" Type="http://schemas.openxmlformats.org/officeDocument/2006/relationships/image" Target="../media/image22.png"/><Relationship Id="rId2" Type="http://schemas.openxmlformats.org/officeDocument/2006/relationships/tags" Target="../tags/tag663.xml"/><Relationship Id="rId1" Type="http://schemas.openxmlformats.org/officeDocument/2006/relationships/vmlDrawing" Target="../drawings/vmlDrawing41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7.bin"/><Relationship Id="rId4" Type="http://schemas.openxmlformats.org/officeDocument/2006/relationships/slideMaster" Target="../slideMasters/slideMaster7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tags" Target="../tags/tag666.xml"/><Relationship Id="rId2" Type="http://schemas.openxmlformats.org/officeDocument/2006/relationships/tags" Target="../tags/tag665.xml"/><Relationship Id="rId1" Type="http://schemas.openxmlformats.org/officeDocument/2006/relationships/vmlDrawing" Target="../drawings/vmlDrawing41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8.bin"/><Relationship Id="rId4" Type="http://schemas.openxmlformats.org/officeDocument/2006/relationships/slideMaster" Target="../slideMasters/slideMaster7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tags" Target="../tags/tag668.xml"/><Relationship Id="rId2" Type="http://schemas.openxmlformats.org/officeDocument/2006/relationships/tags" Target="../tags/tag667.xml"/><Relationship Id="rId1" Type="http://schemas.openxmlformats.org/officeDocument/2006/relationships/vmlDrawing" Target="../drawings/vmlDrawing41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9.bin"/><Relationship Id="rId4" Type="http://schemas.openxmlformats.org/officeDocument/2006/relationships/slideMaster" Target="../slideMasters/slideMaster7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9.xml"/><Relationship Id="rId1" Type="http://schemas.openxmlformats.org/officeDocument/2006/relationships/vmlDrawing" Target="../drawings/vmlDrawing420.vml"/><Relationship Id="rId6" Type="http://schemas.openxmlformats.org/officeDocument/2006/relationships/image" Target="../media/image2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20.bin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tags" Target="../tags/tag671.xml"/><Relationship Id="rId2" Type="http://schemas.openxmlformats.org/officeDocument/2006/relationships/tags" Target="../tags/tag670.xml"/><Relationship Id="rId1" Type="http://schemas.openxmlformats.org/officeDocument/2006/relationships/vmlDrawing" Target="../drawings/vmlDrawing42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21.bin"/><Relationship Id="rId4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2.xml"/><Relationship Id="rId1" Type="http://schemas.openxmlformats.org/officeDocument/2006/relationships/vmlDrawing" Target="../drawings/vmlDrawing422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22.bin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3.xml"/><Relationship Id="rId1" Type="http://schemas.openxmlformats.org/officeDocument/2006/relationships/vmlDrawing" Target="../drawings/vmlDrawing4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23.bin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4.xml"/><Relationship Id="rId1" Type="http://schemas.openxmlformats.org/officeDocument/2006/relationships/vmlDrawing" Target="../drawings/vmlDrawing4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24.bin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5.xml"/><Relationship Id="rId1" Type="http://schemas.openxmlformats.org/officeDocument/2006/relationships/vmlDrawing" Target="../drawings/vmlDrawing4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25.bin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6.xml"/><Relationship Id="rId1" Type="http://schemas.openxmlformats.org/officeDocument/2006/relationships/vmlDrawing" Target="../drawings/vmlDrawing426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26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7.xml"/><Relationship Id="rId1" Type="http://schemas.openxmlformats.org/officeDocument/2006/relationships/vmlDrawing" Target="../drawings/vmlDrawing42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27.bin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tags" Target="../tags/tag679.xml"/><Relationship Id="rId2" Type="http://schemas.openxmlformats.org/officeDocument/2006/relationships/tags" Target="../tags/tag678.xml"/><Relationship Id="rId1" Type="http://schemas.openxmlformats.org/officeDocument/2006/relationships/vmlDrawing" Target="../drawings/vmlDrawing42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28.bin"/><Relationship Id="rId4" Type="http://schemas.openxmlformats.org/officeDocument/2006/relationships/slideMaster" Target="../slideMasters/slideMaster7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0.xml"/><Relationship Id="rId1" Type="http://schemas.openxmlformats.org/officeDocument/2006/relationships/vmlDrawing" Target="../drawings/vmlDrawing42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29.bin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1.xml"/><Relationship Id="rId1" Type="http://schemas.openxmlformats.org/officeDocument/2006/relationships/vmlDrawing" Target="../drawings/vmlDrawing43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30.bin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2.xml"/><Relationship Id="rId1" Type="http://schemas.openxmlformats.org/officeDocument/2006/relationships/vmlDrawing" Target="../drawings/vmlDrawing431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3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tags" Target="../tags/tag684.xml"/><Relationship Id="rId2" Type="http://schemas.openxmlformats.org/officeDocument/2006/relationships/tags" Target="../tags/tag683.xml"/><Relationship Id="rId1" Type="http://schemas.openxmlformats.org/officeDocument/2006/relationships/vmlDrawing" Target="../drawings/vmlDrawing43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32.bin"/><Relationship Id="rId4" Type="http://schemas.openxmlformats.org/officeDocument/2006/relationships/slideMaster" Target="../slideMasters/slideMaster7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5.xml"/><Relationship Id="rId1" Type="http://schemas.openxmlformats.org/officeDocument/2006/relationships/vmlDrawing" Target="../drawings/vmlDrawing43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33.bin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6.xml"/><Relationship Id="rId1" Type="http://schemas.openxmlformats.org/officeDocument/2006/relationships/vmlDrawing" Target="../drawings/vmlDrawing434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34.bin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7.xml"/><Relationship Id="rId1" Type="http://schemas.openxmlformats.org/officeDocument/2006/relationships/vmlDrawing" Target="../drawings/vmlDrawing435.vml"/><Relationship Id="rId6" Type="http://schemas.openxmlformats.org/officeDocument/2006/relationships/image" Target="../media/image20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35.bin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8.xml"/><Relationship Id="rId1" Type="http://schemas.openxmlformats.org/officeDocument/2006/relationships/vmlDrawing" Target="../drawings/vmlDrawing436.v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36.bin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9.xml"/><Relationship Id="rId1" Type="http://schemas.openxmlformats.org/officeDocument/2006/relationships/vmlDrawing" Target="../drawings/vmlDrawing437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37.bin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90.xml"/><Relationship Id="rId1" Type="http://schemas.openxmlformats.org/officeDocument/2006/relationships/vmlDrawing" Target="../drawings/vmlDrawing438.v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38.bin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.png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.png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.png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8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0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0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2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0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4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2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21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2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21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2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5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1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3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62.xml"/><Relationship Id="rId7" Type="http://schemas.openxmlformats.org/officeDocument/2006/relationships/image" Target="../media/image11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2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20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20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20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20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20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21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5" y="2615342"/>
            <a:ext cx="6911444" cy="925512"/>
          </a:xfrm>
          <a:prstGeom prst="rect">
            <a:avLst/>
          </a:prstGeom>
          <a:solidFill>
            <a:srgbClr val="0A1315">
              <a:alpha val="39000"/>
            </a:srgb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>
                    <a:lumMod val="9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73274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/>
          </p:nvPr>
        </p:nvSpPr>
        <p:spPr>
          <a:xfrm>
            <a:off x="576361" y="1185024"/>
            <a:ext cx="2558725" cy="1819434"/>
          </a:xfrm>
        </p:spPr>
        <p:txBody>
          <a:bodyPr anchor="t" anchorCtr="0"/>
          <a:lstStyle/>
          <a:p>
            <a:r>
              <a:rPr lang="en-US" sz="3000">
                <a:solidFill>
                  <a:schemeClr val="accent1"/>
                </a:solidFill>
              </a:rPr>
              <a:t>Click to edit Master title style</a:t>
            </a:r>
            <a:endParaRPr lang="en-US" sz="3000" dirty="0">
              <a:solidFill>
                <a:schemeClr val="accent1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94530" y="-25"/>
            <a:ext cx="0" cy="5540213"/>
          </a:xfrm>
          <a:prstGeom prst="line">
            <a:avLst/>
          </a:prstGeom>
          <a:ln>
            <a:solidFill>
              <a:srgbClr val="F15A2B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3603140" y="1185024"/>
            <a:ext cx="7487478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6547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0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00895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2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22391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58365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7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6432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0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32800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2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8432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1639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939415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3219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2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6544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4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2646248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4786" y="383687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23785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4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0894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6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3355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71711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1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3383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4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252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638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 2. xxxx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54573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16446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2662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1531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4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3170681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6124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7800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3E6CD2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3E6CD2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78655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8601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3E6CD2"/>
                </a:solidFill>
                <a:latin typeface="Arial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95959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24275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1001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Arial"/>
              <a:sym typeface="+mn-lt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2F3D5A7-E7A9-4A02-B0FC-4F987CA7C555}" type="slidenum">
              <a:rPr lang="en-US" smtClean="0">
                <a:solidFill>
                  <a:srgbClr val="414042"/>
                </a:solidFill>
                <a:latin typeface="Arial"/>
                <a:sym typeface="+mn-lt"/>
              </a:rPr>
              <a:pPr>
                <a:defRPr/>
              </a:pPr>
              <a:t>‹#›</a:t>
            </a:fld>
            <a:endParaRPr lang="en-US" dirty="0">
              <a:solidFill>
                <a:srgbClr val="414042"/>
              </a:solidFill>
              <a:latin typeface="Arial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665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2F3D5A7-E7A9-4A02-B0FC-4F987CA7C555}" type="slidenum">
              <a:rPr lang="en-US" smtClean="0">
                <a:solidFill>
                  <a:srgbClr val="414042"/>
                </a:solidFill>
                <a:latin typeface="Arial"/>
                <a:sym typeface="+mn-lt"/>
              </a:rPr>
              <a:pPr>
                <a:defRPr/>
              </a:pPr>
              <a:t>‹#›</a:t>
            </a:fld>
            <a:endParaRPr lang="en-US" dirty="0">
              <a:solidFill>
                <a:srgbClr val="414042"/>
              </a:solidFill>
              <a:latin typeface="Arial"/>
              <a:sym typeface="+mn-lt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723899" y="3221346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Arial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6389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502025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1448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9327" y="6356350"/>
            <a:ext cx="9725024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414042"/>
                </a:solidFill>
              </a:rPr>
              <a:t>© IGT Solutions Pvt. Ltd. | Confidential: Not for Distribution | www.igtsolutions.com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4A7CC33-11F4-41B3-8ABD-D75E7FFA5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9200" y="6331183"/>
            <a:ext cx="406400" cy="365125"/>
          </a:xfrm>
        </p:spPr>
        <p:txBody>
          <a:bodyPr/>
          <a:lstStyle/>
          <a:p>
            <a:fld id="{32F3D5A7-E7A9-4A02-B0FC-4F987CA7C555}" type="slidenum">
              <a:rPr lang="en-US" smtClean="0">
                <a:solidFill>
                  <a:srgbClr val="414042"/>
                </a:solidFill>
              </a:rPr>
              <a:pPr/>
              <a:t>‹#›</a:t>
            </a:fld>
            <a:endParaRPr lang="en-US" dirty="0">
              <a:solidFill>
                <a:srgbClr val="4140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015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137931" y="2860676"/>
            <a:ext cx="5804687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37933" y="4051300"/>
            <a:ext cx="5827688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9" y="2860676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68043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7686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27964" y="6356350"/>
            <a:ext cx="9725024" cy="365125"/>
          </a:xfrm>
        </p:spPr>
        <p:txBody>
          <a:bodyPr/>
          <a:lstStyle/>
          <a:p>
            <a:r>
              <a:rPr lang="en-US" dirty="0">
                <a:solidFill>
                  <a:srgbClr val="414042"/>
                </a:solidFill>
              </a:rPr>
              <a:t>© IGT Solutions Pvt. Ltd. | Confidential: Not for Distribution | www.igtsolutions.com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79200" y="6331183"/>
            <a:ext cx="406400" cy="365125"/>
          </a:xfrm>
        </p:spPr>
        <p:txBody>
          <a:bodyPr/>
          <a:lstStyle/>
          <a:p>
            <a:fld id="{32F3D5A7-E7A9-4A02-B0FC-4F987CA7C555}" type="slidenum">
              <a:rPr lang="en-US" smtClean="0">
                <a:solidFill>
                  <a:srgbClr val="414042"/>
                </a:solidFill>
              </a:rPr>
              <a:pPr/>
              <a:t>‹#›</a:t>
            </a:fld>
            <a:endParaRPr lang="en-US" dirty="0">
              <a:solidFill>
                <a:srgbClr val="4140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03947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29B974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6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414042">
                    <a:tint val="75000"/>
                  </a:srgbClr>
                </a:solidFill>
              </a:rPr>
              <a:pPr/>
              <a:t>8/30/2021</a:t>
            </a:fld>
            <a:endParaRPr lang="en-US"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414042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73053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29B974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414042">
                    <a:tint val="75000"/>
                  </a:srgbClr>
                </a:solidFill>
              </a:rPr>
              <a:pPr/>
              <a:t>8/30/2021</a:t>
            </a:fld>
            <a:endParaRPr lang="en-US"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414042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80848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19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2646248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4786" y="383687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410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7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6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17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9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6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025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2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0668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4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9631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0448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2860676"/>
            <a:ext cx="5486400" cy="925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8" y="2865438"/>
            <a:ext cx="4762500" cy="4762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9" y="2860676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05982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9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69694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1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5156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4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5986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6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59740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9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85840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1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550033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3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5085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6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0479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8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32187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0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5078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4" y="2615342"/>
            <a:ext cx="6928042" cy="925512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638036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3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689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5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6815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8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5028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0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312403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3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0636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5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96044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7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99377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0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7551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2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4644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4466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3587700" y="2615342"/>
            <a:ext cx="7938726" cy="925512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sosceles Triangle 2"/>
          <p:cNvSpPr/>
          <p:nvPr userDrawn="1"/>
        </p:nvSpPr>
        <p:spPr>
          <a:xfrm rot="16200000">
            <a:off x="2507114" y="2462808"/>
            <a:ext cx="920432" cy="1240740"/>
          </a:xfrm>
          <a:prstGeom prst="triangle">
            <a:avLst>
              <a:gd name="adj" fmla="val 0"/>
            </a:avLst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accent3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468104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7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406139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98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0229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0916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4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75950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7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6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21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9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133737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1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366760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4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4812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6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8168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2261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9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73654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1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2601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3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97442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6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34931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2184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1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916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3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4919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58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8406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8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80564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0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7146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7768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2646248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4786" y="383687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179147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5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122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7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76228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0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39684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2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5761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5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736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7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9488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9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1997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2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44451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4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1803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34493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3170681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218803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9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2160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18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7713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4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5255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6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3939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7714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3828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5874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69589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6344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119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4" y="2615342"/>
            <a:ext cx="6928042" cy="92551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4595231" y="2619375"/>
            <a:ext cx="45719" cy="916716"/>
          </a:xfrm>
          <a:prstGeom prst="rect">
            <a:avLst/>
          </a:prstGeom>
          <a:solidFill>
            <a:schemeClr val="tx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66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137931" y="2860676"/>
            <a:ext cx="5804687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37933" y="4051300"/>
            <a:ext cx="5827688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9" y="2860676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17522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8370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726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9804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0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1430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3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723899" y="3221346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9480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890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5900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67709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/>
          <a:srcRect l="14614"/>
          <a:stretch/>
        </p:blipFill>
        <p:spPr>
          <a:xfrm>
            <a:off x="-13253" y="2565507"/>
            <a:ext cx="7350319" cy="127136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2646248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4786" y="383687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95503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56346" y="6445250"/>
            <a:ext cx="414865" cy="365126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noAutofit/>
          </a:bodyPr>
          <a:lstStyle>
            <a:defPPr/>
            <a:lvl1pPr>
              <a:defRPr kumimoji="0" lang="en-US" sz="93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Century Gothic"/>
              </a:defRPr>
            </a:lvl1pPr>
          </a:lstStyle>
          <a:p>
            <a:pPr algn="ctr">
              <a:defRPr/>
            </a:pPr>
            <a:fld id="{75657704-65BA-E840-BC24-0E364A9FA35F}" type="slidenum">
              <a:rPr/>
              <a:pPr algn="ctr">
                <a:defRPr/>
              </a:pPr>
              <a:t>‹#›</a:t>
            </a:fld>
            <a:endParaRPr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487683" y="1632216"/>
            <a:ext cx="10841567" cy="4360698"/>
          </a:xfrm>
        </p:spPr>
        <p:txBody>
          <a:bodyPr/>
          <a:lstStyle>
            <a:defPPr/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554504"/>
      </p:ext>
    </p:extLst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/>
          <p:cNvSpPr>
            <a:spLocks noGrp="1"/>
          </p:cNvSpPr>
          <p:nvPr>
            <p:ph type="body" sz="quarter" idx="10" hasCustomPrompt="1"/>
          </p:nvPr>
        </p:nvSpPr>
        <p:spPr>
          <a:xfrm>
            <a:off x="455731" y="277285"/>
            <a:ext cx="9976861" cy="58208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aseline="0">
                <a:solidFill>
                  <a:schemeClr val="accent3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09448" indent="0">
              <a:buNone/>
              <a:defRPr/>
            </a:lvl2pPr>
            <a:lvl3pPr marL="1218895" indent="0">
              <a:buNone/>
              <a:defRPr/>
            </a:lvl3pPr>
            <a:lvl4pPr marL="1828343" indent="0">
              <a:buNone/>
              <a:defRPr/>
            </a:lvl4pPr>
            <a:lvl5pPr marL="2437790" indent="0">
              <a:buNone/>
              <a:defRPr/>
            </a:lvl5pPr>
          </a:lstStyle>
          <a:p>
            <a:pPr lvl="0"/>
            <a:r>
              <a:rPr lang="en-US" dirty="0"/>
              <a:t>Enter Title He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9918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2860676"/>
            <a:ext cx="5486400" cy="925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8" y="2865438"/>
            <a:ext cx="4762500" cy="4762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9" y="2860676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60792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6558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580658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79850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7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154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9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94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1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8068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11956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6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9855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9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70011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1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1756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3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5252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39832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6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8224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8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9262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1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4441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3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95505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5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1307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8480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07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6970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3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1751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5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0983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7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33348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252799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0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8914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2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6841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5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58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7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34638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9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80662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35177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80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8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72371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4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17586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7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9738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97292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1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4934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589708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4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7463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6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89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9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3030049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1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27448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3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3194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2735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8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4311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1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3076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3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9397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5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162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8115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IGT Solutions Pvt. Ltd. | Confidential: Not for Distribution | www.igtsolutions.com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2F3D5A7-E7A9-4A02-B0FC-4F987CA7C55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89192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8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969499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0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1573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3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42456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55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40048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7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28067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1767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2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346951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5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580602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7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9659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9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6626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1743"/>
            <a:ext cx="10623259" cy="9255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IGT Solutions Pvt. Ltd. | Confidential: Not for Distribution | www.igtsolutions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91259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2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93150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4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4853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7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77534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9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2466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1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4888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28673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6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8654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9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46329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1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9735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3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041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69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780364" y="65087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31600" y="64835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01239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6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8434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98018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86539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86865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8437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3E6CD2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3E6CD2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71464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940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3E6CD2"/>
                </a:solidFill>
                <a:latin typeface="Arial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8748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2371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6237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IGT Solutions Pvt. Ltd. | Confidential: Not for Distribution | www.igtsolutions.com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2F3D5A7-E7A9-4A02-B0FC-4F987CA7C55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95447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10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Arial"/>
              <a:sym typeface="+mn-lt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2F3D5A7-E7A9-4A02-B0FC-4F987CA7C555}" type="slidenum">
              <a:rPr lang="en-US" smtClean="0">
                <a:solidFill>
                  <a:srgbClr val="414042"/>
                </a:solidFill>
                <a:latin typeface="Arial"/>
                <a:sym typeface="+mn-lt"/>
              </a:rPr>
              <a:pPr>
                <a:defRPr/>
              </a:pPr>
              <a:t>‹#›</a:t>
            </a:fld>
            <a:endParaRPr lang="en-US" dirty="0">
              <a:solidFill>
                <a:srgbClr val="414042"/>
              </a:solidFill>
              <a:latin typeface="Arial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5945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12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723899" y="3221346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Arial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699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6000BE-D3E2-4FB3-9527-9A92E509E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6000BE-D3E2-4FB3-9527-9A92E509E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58CC579B-7DFB-4D63-95DC-EC0EDD692BF3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56728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3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06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6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02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8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263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1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74025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3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1184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81611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8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43381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IGT Solutions Pvt. Ltd. | Confidential: Not for Distribution | www.igtsolutions.com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2F3D5A7-E7A9-4A02-B0FC-4F987CA7C55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33712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0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529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3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8516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5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7157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7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5226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0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79877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2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4165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5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53946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7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0310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854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2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96068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4" y="2615342"/>
            <a:ext cx="6928042" cy="925512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55228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3221346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IGT Solutions Pvt. Ltd. | Confidential: Not for Distribution | www.igtsolutions.com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2F3D5A7-E7A9-4A02-B0FC-4F987CA7C55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68144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4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334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7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7643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07192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1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1870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4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2684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6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01962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9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37282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91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7189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7470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6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8478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2860676"/>
            <a:ext cx="5486400" cy="925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238" y="2865438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8227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8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9330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1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7468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3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43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5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70481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8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2131205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0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762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3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6414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5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0227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29709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0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0928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7F9972E-A5C0-4314-B9AB-55228C9175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7236823" cy="6858000"/>
          </a:xfrm>
          <a:custGeom>
            <a:avLst/>
            <a:gdLst>
              <a:gd name="connsiteX0" fmla="*/ 0 w 7236823"/>
              <a:gd name="connsiteY0" fmla="*/ 0 h 6858000"/>
              <a:gd name="connsiteX1" fmla="*/ 7236823 w 7236823"/>
              <a:gd name="connsiteY1" fmla="*/ 0 h 6858000"/>
              <a:gd name="connsiteX2" fmla="*/ 7236823 w 7236823"/>
              <a:gd name="connsiteY2" fmla="*/ 4594 h 6858000"/>
              <a:gd name="connsiteX3" fmla="*/ 7128384 w 7236823"/>
              <a:gd name="connsiteY3" fmla="*/ 13797 h 6858000"/>
              <a:gd name="connsiteX4" fmla="*/ 7006506 w 7236823"/>
              <a:gd name="connsiteY4" fmla="*/ 31308 h 6858000"/>
              <a:gd name="connsiteX5" fmla="*/ 6887808 w 7236823"/>
              <a:gd name="connsiteY5" fmla="*/ 55187 h 6858000"/>
              <a:gd name="connsiteX6" fmla="*/ 6773349 w 7236823"/>
              <a:gd name="connsiteY6" fmla="*/ 85964 h 6858000"/>
              <a:gd name="connsiteX7" fmla="*/ 6661539 w 7236823"/>
              <a:gd name="connsiteY7" fmla="*/ 122578 h 6858000"/>
              <a:gd name="connsiteX8" fmla="*/ 6552909 w 7236823"/>
              <a:gd name="connsiteY8" fmla="*/ 165029 h 6858000"/>
              <a:gd name="connsiteX9" fmla="*/ 6447988 w 7236823"/>
              <a:gd name="connsiteY9" fmla="*/ 213318 h 6858000"/>
              <a:gd name="connsiteX10" fmla="*/ 6346776 w 7236823"/>
              <a:gd name="connsiteY10" fmla="*/ 267443 h 6858000"/>
              <a:gd name="connsiteX11" fmla="*/ 6249274 w 7236823"/>
              <a:gd name="connsiteY11" fmla="*/ 326875 h 6858000"/>
              <a:gd name="connsiteX12" fmla="*/ 6155481 w 7236823"/>
              <a:gd name="connsiteY12" fmla="*/ 390552 h 6858000"/>
              <a:gd name="connsiteX13" fmla="*/ 6065397 w 7236823"/>
              <a:gd name="connsiteY13" fmla="*/ 460596 h 6858000"/>
              <a:gd name="connsiteX14" fmla="*/ 5979554 w 7236823"/>
              <a:gd name="connsiteY14" fmla="*/ 534886 h 6858000"/>
              <a:gd name="connsiteX15" fmla="*/ 5896358 w 7236823"/>
              <a:gd name="connsiteY15" fmla="*/ 613421 h 6858000"/>
              <a:gd name="connsiteX16" fmla="*/ 5817932 w 7236823"/>
              <a:gd name="connsiteY16" fmla="*/ 696201 h 6858000"/>
              <a:gd name="connsiteX17" fmla="*/ 5743216 w 7236823"/>
              <a:gd name="connsiteY17" fmla="*/ 783226 h 6858000"/>
              <a:gd name="connsiteX18" fmla="*/ 5673270 w 7236823"/>
              <a:gd name="connsiteY18" fmla="*/ 873965 h 6858000"/>
              <a:gd name="connsiteX19" fmla="*/ 5606501 w 7236823"/>
              <a:gd name="connsiteY19" fmla="*/ 968950 h 6858000"/>
              <a:gd name="connsiteX20" fmla="*/ 5544502 w 7236823"/>
              <a:gd name="connsiteY20" fmla="*/ 1067119 h 6858000"/>
              <a:gd name="connsiteX21" fmla="*/ 5486213 w 7236823"/>
              <a:gd name="connsiteY21" fmla="*/ 1168471 h 6858000"/>
              <a:gd name="connsiteX22" fmla="*/ 5432692 w 7236823"/>
              <a:gd name="connsiteY22" fmla="*/ 1273007 h 6858000"/>
              <a:gd name="connsiteX23" fmla="*/ 5382881 w 7236823"/>
              <a:gd name="connsiteY23" fmla="*/ 1380197 h 6858000"/>
              <a:gd name="connsiteX24" fmla="*/ 5337840 w 7236823"/>
              <a:gd name="connsiteY24" fmla="*/ 1490039 h 6858000"/>
              <a:gd name="connsiteX25" fmla="*/ 5297568 w 7236823"/>
              <a:gd name="connsiteY25" fmla="*/ 1602535 h 6858000"/>
              <a:gd name="connsiteX26" fmla="*/ 5261533 w 7236823"/>
              <a:gd name="connsiteY26" fmla="*/ 1717684 h 6858000"/>
              <a:gd name="connsiteX27" fmla="*/ 5230799 w 7236823"/>
              <a:gd name="connsiteY27" fmla="*/ 1834425 h 6858000"/>
              <a:gd name="connsiteX28" fmla="*/ 5203774 w 7236823"/>
              <a:gd name="connsiteY28" fmla="*/ 1952758 h 6858000"/>
              <a:gd name="connsiteX29" fmla="*/ 5181518 w 7236823"/>
              <a:gd name="connsiteY29" fmla="*/ 2072683 h 6858000"/>
              <a:gd name="connsiteX30" fmla="*/ 5164561 w 7236823"/>
              <a:gd name="connsiteY30" fmla="*/ 2194730 h 6858000"/>
              <a:gd name="connsiteX31" fmla="*/ 5152373 w 7236823"/>
              <a:gd name="connsiteY31" fmla="*/ 2317308 h 6858000"/>
              <a:gd name="connsiteX32" fmla="*/ 5144426 w 7236823"/>
              <a:gd name="connsiteY32" fmla="*/ 2440947 h 6858000"/>
              <a:gd name="connsiteX33" fmla="*/ 5142305 w 7236823"/>
              <a:gd name="connsiteY33" fmla="*/ 2565648 h 6858000"/>
              <a:gd name="connsiteX34" fmla="*/ 5140715 w 7236823"/>
              <a:gd name="connsiteY34" fmla="*/ 2690349 h 6858000"/>
              <a:gd name="connsiteX35" fmla="*/ 5135946 w 7236823"/>
              <a:gd name="connsiteY35" fmla="*/ 2815580 h 6858000"/>
              <a:gd name="connsiteX36" fmla="*/ 5128528 w 7236823"/>
              <a:gd name="connsiteY36" fmla="*/ 2940811 h 6858000"/>
              <a:gd name="connsiteX37" fmla="*/ 5117930 w 7236823"/>
              <a:gd name="connsiteY37" fmla="*/ 3065511 h 6858000"/>
              <a:gd name="connsiteX38" fmla="*/ 5102562 w 7236823"/>
              <a:gd name="connsiteY38" fmla="*/ 3190212 h 6858000"/>
              <a:gd name="connsiteX39" fmla="*/ 5084546 w 7236823"/>
              <a:gd name="connsiteY39" fmla="*/ 3313320 h 6858000"/>
              <a:gd name="connsiteX40" fmla="*/ 5062290 w 7236823"/>
              <a:gd name="connsiteY40" fmla="*/ 3435898 h 6858000"/>
              <a:gd name="connsiteX41" fmla="*/ 5036324 w 7236823"/>
              <a:gd name="connsiteY41" fmla="*/ 3556354 h 6858000"/>
              <a:gd name="connsiteX42" fmla="*/ 5006120 w 7236823"/>
              <a:gd name="connsiteY42" fmla="*/ 3675217 h 6858000"/>
              <a:gd name="connsiteX43" fmla="*/ 4971676 w 7236823"/>
              <a:gd name="connsiteY43" fmla="*/ 3793020 h 6858000"/>
              <a:gd name="connsiteX44" fmla="*/ 4932463 w 7236823"/>
              <a:gd name="connsiteY44" fmla="*/ 3908169 h 6858000"/>
              <a:gd name="connsiteX45" fmla="*/ 4888481 w 7236823"/>
              <a:gd name="connsiteY45" fmla="*/ 4019603 h 6858000"/>
              <a:gd name="connsiteX46" fmla="*/ 4839730 w 7236823"/>
              <a:gd name="connsiteY46" fmla="*/ 4129976 h 6858000"/>
              <a:gd name="connsiteX47" fmla="*/ 4786210 w 7236823"/>
              <a:gd name="connsiteY47" fmla="*/ 4236105 h 6858000"/>
              <a:gd name="connsiteX48" fmla="*/ 4727391 w 7236823"/>
              <a:gd name="connsiteY48" fmla="*/ 4339049 h 6858000"/>
              <a:gd name="connsiteX49" fmla="*/ 4663272 w 7236823"/>
              <a:gd name="connsiteY49" fmla="*/ 4438809 h 6858000"/>
              <a:gd name="connsiteX50" fmla="*/ 4593855 w 7236823"/>
              <a:gd name="connsiteY50" fmla="*/ 4534325 h 6858000"/>
              <a:gd name="connsiteX51" fmla="*/ 4518609 w 7236823"/>
              <a:gd name="connsiteY51" fmla="*/ 4625595 h 6858000"/>
              <a:gd name="connsiteX52" fmla="*/ 4437533 w 7236823"/>
              <a:gd name="connsiteY52" fmla="*/ 4712620 h 6858000"/>
              <a:gd name="connsiteX53" fmla="*/ 4350099 w 7236823"/>
              <a:gd name="connsiteY53" fmla="*/ 4794869 h 6858000"/>
              <a:gd name="connsiteX54" fmla="*/ 4257366 w 7236823"/>
              <a:gd name="connsiteY54" fmla="*/ 4871812 h 6858000"/>
              <a:gd name="connsiteX55" fmla="*/ 4157745 w 7236823"/>
              <a:gd name="connsiteY55" fmla="*/ 4944510 h 6858000"/>
              <a:gd name="connsiteX56" fmla="*/ 4051764 w 7236823"/>
              <a:gd name="connsiteY56" fmla="*/ 5010309 h 6858000"/>
              <a:gd name="connsiteX57" fmla="*/ 3939424 w 7236823"/>
              <a:gd name="connsiteY57" fmla="*/ 5071333 h 6858000"/>
              <a:gd name="connsiteX58" fmla="*/ 3820196 w 7236823"/>
              <a:gd name="connsiteY58" fmla="*/ 5125989 h 6858000"/>
              <a:gd name="connsiteX59" fmla="*/ 3693019 w 7236823"/>
              <a:gd name="connsiteY59" fmla="*/ 5173747 h 6858000"/>
              <a:gd name="connsiteX60" fmla="*/ 3560013 w 7236823"/>
              <a:gd name="connsiteY60" fmla="*/ 5215137 h 6858000"/>
              <a:gd name="connsiteX61" fmla="*/ 3419059 w 7236823"/>
              <a:gd name="connsiteY61" fmla="*/ 5249628 h 6858000"/>
              <a:gd name="connsiteX62" fmla="*/ 3270686 w 7236823"/>
              <a:gd name="connsiteY62" fmla="*/ 5277222 h 6858000"/>
              <a:gd name="connsiteX63" fmla="*/ 3115424 w 7236823"/>
              <a:gd name="connsiteY63" fmla="*/ 5296855 h 6858000"/>
              <a:gd name="connsiteX64" fmla="*/ 2951683 w 7236823"/>
              <a:gd name="connsiteY64" fmla="*/ 5309591 h 6858000"/>
              <a:gd name="connsiteX65" fmla="*/ 2779995 w 7236823"/>
              <a:gd name="connsiteY65" fmla="*/ 5313305 h 6858000"/>
              <a:gd name="connsiteX66" fmla="*/ 2609896 w 7236823"/>
              <a:gd name="connsiteY66" fmla="*/ 5317550 h 6858000"/>
              <a:gd name="connsiteX67" fmla="*/ 2450395 w 7236823"/>
              <a:gd name="connsiteY67" fmla="*/ 5330816 h 6858000"/>
              <a:gd name="connsiteX68" fmla="*/ 2302022 w 7236823"/>
              <a:gd name="connsiteY68" fmla="*/ 5351511 h 6858000"/>
              <a:gd name="connsiteX69" fmla="*/ 2162657 w 7236823"/>
              <a:gd name="connsiteY69" fmla="*/ 5379635 h 6858000"/>
              <a:gd name="connsiteX70" fmla="*/ 2033361 w 7236823"/>
              <a:gd name="connsiteY70" fmla="*/ 5414658 h 6858000"/>
              <a:gd name="connsiteX71" fmla="*/ 1913602 w 7236823"/>
              <a:gd name="connsiteY71" fmla="*/ 5456048 h 6858000"/>
              <a:gd name="connsiteX72" fmla="*/ 1802853 w 7236823"/>
              <a:gd name="connsiteY72" fmla="*/ 5502213 h 6858000"/>
              <a:gd name="connsiteX73" fmla="*/ 1700581 w 7236823"/>
              <a:gd name="connsiteY73" fmla="*/ 5554747 h 6858000"/>
              <a:gd name="connsiteX74" fmla="*/ 1606788 w 7236823"/>
              <a:gd name="connsiteY74" fmla="*/ 5610995 h 6858000"/>
              <a:gd name="connsiteX75" fmla="*/ 1519884 w 7236823"/>
              <a:gd name="connsiteY75" fmla="*/ 5671488 h 6858000"/>
              <a:gd name="connsiteX76" fmla="*/ 1441458 w 7236823"/>
              <a:gd name="connsiteY76" fmla="*/ 5735695 h 6858000"/>
              <a:gd name="connsiteX77" fmla="*/ 1370451 w 7236823"/>
              <a:gd name="connsiteY77" fmla="*/ 5802025 h 6858000"/>
              <a:gd name="connsiteX78" fmla="*/ 1305803 w 7236823"/>
              <a:gd name="connsiteY78" fmla="*/ 5871539 h 6858000"/>
              <a:gd name="connsiteX79" fmla="*/ 1248043 w 7236823"/>
              <a:gd name="connsiteY79" fmla="*/ 5941584 h 6858000"/>
              <a:gd name="connsiteX80" fmla="*/ 1196643 w 7236823"/>
              <a:gd name="connsiteY80" fmla="*/ 6013220 h 6858000"/>
              <a:gd name="connsiteX81" fmla="*/ 1151071 w 7236823"/>
              <a:gd name="connsiteY81" fmla="*/ 6085918 h 6858000"/>
              <a:gd name="connsiteX82" fmla="*/ 1110268 w 7236823"/>
              <a:gd name="connsiteY82" fmla="*/ 6158085 h 6858000"/>
              <a:gd name="connsiteX83" fmla="*/ 1075295 w 7236823"/>
              <a:gd name="connsiteY83" fmla="*/ 6229722 h 6858000"/>
              <a:gd name="connsiteX84" fmla="*/ 1045090 w 7236823"/>
              <a:gd name="connsiteY84" fmla="*/ 6300828 h 6858000"/>
              <a:gd name="connsiteX85" fmla="*/ 1018595 w 7236823"/>
              <a:gd name="connsiteY85" fmla="*/ 6369280 h 6858000"/>
              <a:gd name="connsiteX86" fmla="*/ 996869 w 7236823"/>
              <a:gd name="connsiteY86" fmla="*/ 6436141 h 6858000"/>
              <a:gd name="connsiteX87" fmla="*/ 978322 w 7236823"/>
              <a:gd name="connsiteY87" fmla="*/ 6499818 h 6858000"/>
              <a:gd name="connsiteX88" fmla="*/ 964015 w 7236823"/>
              <a:gd name="connsiteY88" fmla="*/ 6560311 h 6858000"/>
              <a:gd name="connsiteX89" fmla="*/ 952357 w 7236823"/>
              <a:gd name="connsiteY89" fmla="*/ 6616559 h 6858000"/>
              <a:gd name="connsiteX90" fmla="*/ 943349 w 7236823"/>
              <a:gd name="connsiteY90" fmla="*/ 6669092 h 6858000"/>
              <a:gd name="connsiteX91" fmla="*/ 936460 w 7236823"/>
              <a:gd name="connsiteY91" fmla="*/ 6715258 h 6858000"/>
              <a:gd name="connsiteX92" fmla="*/ 931161 w 7236823"/>
              <a:gd name="connsiteY92" fmla="*/ 6757179 h 6858000"/>
              <a:gd name="connsiteX93" fmla="*/ 928512 w 7236823"/>
              <a:gd name="connsiteY93" fmla="*/ 6792201 h 6858000"/>
              <a:gd name="connsiteX94" fmla="*/ 925862 w 7236823"/>
              <a:gd name="connsiteY94" fmla="*/ 6841020 h 6858000"/>
              <a:gd name="connsiteX95" fmla="*/ 925862 w 7236823"/>
              <a:gd name="connsiteY95" fmla="*/ 6858000 h 6858000"/>
              <a:gd name="connsiteX96" fmla="*/ 0 w 7236823"/>
              <a:gd name="connsiteY9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7236823" h="6858000">
                <a:moveTo>
                  <a:pt x="0" y="0"/>
                </a:moveTo>
                <a:lnTo>
                  <a:pt x="7236823" y="0"/>
                </a:lnTo>
                <a:lnTo>
                  <a:pt x="7236823" y="4594"/>
                </a:lnTo>
                <a:lnTo>
                  <a:pt x="7128384" y="13797"/>
                </a:lnTo>
                <a:lnTo>
                  <a:pt x="7006506" y="31308"/>
                </a:lnTo>
                <a:lnTo>
                  <a:pt x="6887808" y="55187"/>
                </a:lnTo>
                <a:lnTo>
                  <a:pt x="6773349" y="85964"/>
                </a:lnTo>
                <a:lnTo>
                  <a:pt x="6661539" y="122578"/>
                </a:lnTo>
                <a:lnTo>
                  <a:pt x="6552909" y="165029"/>
                </a:lnTo>
                <a:lnTo>
                  <a:pt x="6447988" y="213318"/>
                </a:lnTo>
                <a:lnTo>
                  <a:pt x="6346776" y="267443"/>
                </a:lnTo>
                <a:lnTo>
                  <a:pt x="6249274" y="326875"/>
                </a:lnTo>
                <a:lnTo>
                  <a:pt x="6155481" y="390552"/>
                </a:lnTo>
                <a:lnTo>
                  <a:pt x="6065397" y="460596"/>
                </a:lnTo>
                <a:lnTo>
                  <a:pt x="5979554" y="534886"/>
                </a:lnTo>
                <a:lnTo>
                  <a:pt x="5896358" y="613421"/>
                </a:lnTo>
                <a:lnTo>
                  <a:pt x="5817932" y="696201"/>
                </a:lnTo>
                <a:lnTo>
                  <a:pt x="5743216" y="783226"/>
                </a:lnTo>
                <a:lnTo>
                  <a:pt x="5673270" y="873965"/>
                </a:lnTo>
                <a:lnTo>
                  <a:pt x="5606501" y="968950"/>
                </a:lnTo>
                <a:lnTo>
                  <a:pt x="5544502" y="1067119"/>
                </a:lnTo>
                <a:lnTo>
                  <a:pt x="5486213" y="1168471"/>
                </a:lnTo>
                <a:lnTo>
                  <a:pt x="5432692" y="1273007"/>
                </a:lnTo>
                <a:lnTo>
                  <a:pt x="5382881" y="1380197"/>
                </a:lnTo>
                <a:lnTo>
                  <a:pt x="5337840" y="1490039"/>
                </a:lnTo>
                <a:lnTo>
                  <a:pt x="5297568" y="1602535"/>
                </a:lnTo>
                <a:lnTo>
                  <a:pt x="5261533" y="1717684"/>
                </a:lnTo>
                <a:lnTo>
                  <a:pt x="5230799" y="1834425"/>
                </a:lnTo>
                <a:lnTo>
                  <a:pt x="5203774" y="1952758"/>
                </a:lnTo>
                <a:lnTo>
                  <a:pt x="5181518" y="2072683"/>
                </a:lnTo>
                <a:lnTo>
                  <a:pt x="5164561" y="2194730"/>
                </a:lnTo>
                <a:lnTo>
                  <a:pt x="5152373" y="2317308"/>
                </a:lnTo>
                <a:lnTo>
                  <a:pt x="5144426" y="2440947"/>
                </a:lnTo>
                <a:lnTo>
                  <a:pt x="5142305" y="2565648"/>
                </a:lnTo>
                <a:lnTo>
                  <a:pt x="5140715" y="2690349"/>
                </a:lnTo>
                <a:lnTo>
                  <a:pt x="5135946" y="2815580"/>
                </a:lnTo>
                <a:lnTo>
                  <a:pt x="5128528" y="2940811"/>
                </a:lnTo>
                <a:lnTo>
                  <a:pt x="5117930" y="3065511"/>
                </a:lnTo>
                <a:lnTo>
                  <a:pt x="5102562" y="3190212"/>
                </a:lnTo>
                <a:lnTo>
                  <a:pt x="5084546" y="3313320"/>
                </a:lnTo>
                <a:lnTo>
                  <a:pt x="5062290" y="3435898"/>
                </a:lnTo>
                <a:lnTo>
                  <a:pt x="5036324" y="3556354"/>
                </a:lnTo>
                <a:lnTo>
                  <a:pt x="5006120" y="3675217"/>
                </a:lnTo>
                <a:lnTo>
                  <a:pt x="4971676" y="3793020"/>
                </a:lnTo>
                <a:lnTo>
                  <a:pt x="4932463" y="3908169"/>
                </a:lnTo>
                <a:lnTo>
                  <a:pt x="4888481" y="4019603"/>
                </a:lnTo>
                <a:lnTo>
                  <a:pt x="4839730" y="4129976"/>
                </a:lnTo>
                <a:lnTo>
                  <a:pt x="4786210" y="4236105"/>
                </a:lnTo>
                <a:lnTo>
                  <a:pt x="4727391" y="4339049"/>
                </a:lnTo>
                <a:lnTo>
                  <a:pt x="4663272" y="4438809"/>
                </a:lnTo>
                <a:lnTo>
                  <a:pt x="4593855" y="4534325"/>
                </a:lnTo>
                <a:lnTo>
                  <a:pt x="4518609" y="4625595"/>
                </a:lnTo>
                <a:lnTo>
                  <a:pt x="4437533" y="4712620"/>
                </a:lnTo>
                <a:lnTo>
                  <a:pt x="4350099" y="4794869"/>
                </a:lnTo>
                <a:lnTo>
                  <a:pt x="4257366" y="4871812"/>
                </a:lnTo>
                <a:lnTo>
                  <a:pt x="4157745" y="4944510"/>
                </a:lnTo>
                <a:lnTo>
                  <a:pt x="4051764" y="5010309"/>
                </a:lnTo>
                <a:lnTo>
                  <a:pt x="3939424" y="5071333"/>
                </a:lnTo>
                <a:lnTo>
                  <a:pt x="3820196" y="5125989"/>
                </a:lnTo>
                <a:lnTo>
                  <a:pt x="3693019" y="5173747"/>
                </a:lnTo>
                <a:lnTo>
                  <a:pt x="3560013" y="5215137"/>
                </a:lnTo>
                <a:lnTo>
                  <a:pt x="3419059" y="5249628"/>
                </a:lnTo>
                <a:lnTo>
                  <a:pt x="3270686" y="5277222"/>
                </a:lnTo>
                <a:lnTo>
                  <a:pt x="3115424" y="5296855"/>
                </a:lnTo>
                <a:lnTo>
                  <a:pt x="2951683" y="5309591"/>
                </a:lnTo>
                <a:lnTo>
                  <a:pt x="2779995" y="5313305"/>
                </a:lnTo>
                <a:lnTo>
                  <a:pt x="2609896" y="5317550"/>
                </a:lnTo>
                <a:lnTo>
                  <a:pt x="2450395" y="5330816"/>
                </a:lnTo>
                <a:lnTo>
                  <a:pt x="2302022" y="5351511"/>
                </a:lnTo>
                <a:lnTo>
                  <a:pt x="2162657" y="5379635"/>
                </a:lnTo>
                <a:lnTo>
                  <a:pt x="2033361" y="5414658"/>
                </a:lnTo>
                <a:lnTo>
                  <a:pt x="1913602" y="5456048"/>
                </a:lnTo>
                <a:lnTo>
                  <a:pt x="1802853" y="5502213"/>
                </a:lnTo>
                <a:lnTo>
                  <a:pt x="1700581" y="5554747"/>
                </a:lnTo>
                <a:lnTo>
                  <a:pt x="1606788" y="5610995"/>
                </a:lnTo>
                <a:lnTo>
                  <a:pt x="1519884" y="5671488"/>
                </a:lnTo>
                <a:lnTo>
                  <a:pt x="1441458" y="5735695"/>
                </a:lnTo>
                <a:lnTo>
                  <a:pt x="1370451" y="5802025"/>
                </a:lnTo>
                <a:lnTo>
                  <a:pt x="1305803" y="5871539"/>
                </a:lnTo>
                <a:lnTo>
                  <a:pt x="1248043" y="5941584"/>
                </a:lnTo>
                <a:lnTo>
                  <a:pt x="1196643" y="6013220"/>
                </a:lnTo>
                <a:lnTo>
                  <a:pt x="1151071" y="6085918"/>
                </a:lnTo>
                <a:lnTo>
                  <a:pt x="1110268" y="6158085"/>
                </a:lnTo>
                <a:lnTo>
                  <a:pt x="1075295" y="6229722"/>
                </a:lnTo>
                <a:lnTo>
                  <a:pt x="1045090" y="6300828"/>
                </a:lnTo>
                <a:lnTo>
                  <a:pt x="1018595" y="6369280"/>
                </a:lnTo>
                <a:lnTo>
                  <a:pt x="996869" y="6436141"/>
                </a:lnTo>
                <a:lnTo>
                  <a:pt x="978322" y="6499818"/>
                </a:lnTo>
                <a:lnTo>
                  <a:pt x="964015" y="6560311"/>
                </a:lnTo>
                <a:lnTo>
                  <a:pt x="952357" y="6616559"/>
                </a:lnTo>
                <a:lnTo>
                  <a:pt x="943349" y="6669092"/>
                </a:lnTo>
                <a:lnTo>
                  <a:pt x="936460" y="6715258"/>
                </a:lnTo>
                <a:lnTo>
                  <a:pt x="931161" y="6757179"/>
                </a:lnTo>
                <a:lnTo>
                  <a:pt x="928512" y="6792201"/>
                </a:lnTo>
                <a:lnTo>
                  <a:pt x="925862" y="6841020"/>
                </a:lnTo>
                <a:lnTo>
                  <a:pt x="92586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310563475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2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8075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5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8571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7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42044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9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22885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2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6654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4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480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7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63060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9011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5569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4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036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7"/>
            <a:ext cx="12192000" cy="1106422"/>
          </a:xfrm>
          <a:prstGeom prst="rect">
            <a:avLst/>
          </a:prstGeom>
        </p:spPr>
      </p:pic>
      <p:sp>
        <p:nvSpPr>
          <p:cNvPr id="12" name="Oval 11"/>
          <p:cNvSpPr/>
          <p:nvPr userDrawn="1"/>
        </p:nvSpPr>
        <p:spPr>
          <a:xfrm>
            <a:off x="11687805" y="6428158"/>
            <a:ext cx="296455" cy="23584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16" tIns="40008" rIns="80016" bIns="40008" rtlCol="0" anchor="ctr"/>
          <a:lstStyle/>
          <a:p>
            <a:pPr algn="ctr" defTabSz="912592"/>
            <a:endParaRPr lang="en-US" sz="17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11614546" y="6288485"/>
            <a:ext cx="441041" cy="511176"/>
          </a:xfrm>
          <a:prstGeom prst="rect">
            <a:avLst/>
          </a:prstGeom>
        </p:spPr>
        <p:txBody>
          <a:bodyPr vert="horz" lIns="88203" tIns="44102" rIns="88203" bIns="4410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42A1D2EC-CA46-4493-A09E-F0FD5EC705F6}" type="slidenum">
              <a:rPr lang="en-US" altLang="en-US" sz="700" smtClean="0">
                <a:solidFill>
                  <a:prstClr val="white"/>
                </a:solidFill>
                <a:cs typeface="Arial" panose="020B0604020202020204" pitchFamily="34" charset="0"/>
              </a:rPr>
              <a:pPr algn="ctr">
                <a:defRPr/>
              </a:pPr>
              <a:t>‹#›</a:t>
            </a:fld>
            <a:r>
              <a:rPr lang="en-US" altLang="en-US" sz="700" dirty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28642" y="9"/>
            <a:ext cx="11649073" cy="1110952"/>
          </a:xfrm>
          <a:prstGeom prst="rect">
            <a:avLst/>
          </a:prstGeom>
        </p:spPr>
        <p:txBody>
          <a:bodyPr lIns="80016" tIns="40008" rIns="80016" bIns="40008" anchor="ctr"/>
          <a:lstStyle>
            <a:lvl1pPr algn="l" defTabSz="912592" rtl="0" eaLnBrk="1" latinLnBrk="0" hangingPunct="1">
              <a:spcBef>
                <a:spcPct val="0"/>
              </a:spcBef>
              <a:buNone/>
              <a:defRPr lang="en-US" sz="2800" b="1" kern="12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040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6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5148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9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2627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1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1627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3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8929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6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32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8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6076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1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4657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3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68312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97897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8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1291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8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DF7A783-EE83-4C8B-9805-53B5056707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anchor="t">
            <a:noAutofit/>
          </a:bodyPr>
          <a:lstStyle>
            <a:lvl1pPr>
              <a:defRPr sz="25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6862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0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052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3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59702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884271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573063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8038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3983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3E6CD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3E6CD2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309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4755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3E6CD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8919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3257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72370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sym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9095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7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2F3D5A7-E7A9-4A02-B0FC-4F987CA7C555}" type="slidenum">
              <a:rPr lang="en-US" smtClean="0">
                <a:solidFill>
                  <a:srgbClr val="414042"/>
                </a:solidFill>
                <a:sym typeface="Arial" panose="020B0604020202020204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rgbClr val="414042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9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723899" y="3221346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31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19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anchor="t">
            <a:noAutofit/>
          </a:bodyPr>
          <a:lstStyle>
            <a:lvl1pPr>
              <a:defRPr sz="25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3602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E5BE76-68CE-4B2C-98C1-74A9A084F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E5BE76-68CE-4B2C-98C1-74A9A084F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263243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81C665-FA73-47C9-9D86-2F460175A1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581C665-FA73-47C9-9D86-2F460175A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1448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9327" y="6356350"/>
            <a:ext cx="9725024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dirty="0">
                <a:solidFill>
                  <a:srgbClr val="414042"/>
                </a:solidFill>
              </a:rPr>
              <a:t>© IGT Solutions Pvt. Ltd. | Confidential: Not for Distribution | www.igtsolutions.com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4A7CC33-11F4-41B3-8ABD-D75E7FFA5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9200" y="6331183"/>
            <a:ext cx="4064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32F3D5A7-E7A9-4A02-B0FC-4F987CA7C555}" type="slidenum">
              <a:rPr lang="en-US" smtClean="0">
                <a:solidFill>
                  <a:srgbClr val="414042"/>
                </a:solidFill>
              </a:rPr>
              <a:pPr/>
              <a:t>‹#›</a:t>
            </a:fld>
            <a:endParaRPr lang="en-US" dirty="0">
              <a:solidFill>
                <a:srgbClr val="4140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47394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9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1C600CE8-435E-42DE-AC04-A2808CB1AF41}"/>
              </a:ext>
            </a:extLst>
          </p:cNvPr>
          <p:cNvGrpSpPr/>
          <p:nvPr userDrawn="1"/>
        </p:nvGrpSpPr>
        <p:grpSpPr>
          <a:xfrm>
            <a:off x="675" y="-3720"/>
            <a:ext cx="12191325" cy="6861720"/>
            <a:chOff x="675" y="-3720"/>
            <a:chExt cx="12215824" cy="6861720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5" y="-3720"/>
              <a:ext cx="12215824" cy="6861720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 userDrawn="1"/>
          </p:nvSpPr>
          <p:spPr>
            <a:xfrm>
              <a:off x="675" y="-3720"/>
              <a:ext cx="12215824" cy="6861720"/>
            </a:xfrm>
            <a:prstGeom prst="rect">
              <a:avLst/>
            </a:prstGeom>
            <a:solidFill>
              <a:schemeClr val="bg2">
                <a:lumMod val="10000"/>
                <a:alpha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87798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370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461099A-2308-4F5A-B8F1-BFE1849BFA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1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461099A-2308-4F5A-B8F1-BFE1849BFA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414042"/>
                </a:solidFill>
              </a:rPr>
              <a:t>© IGT Solutions Pvt. Ltd. | Confidential: Not for Distribution | www.igtsolutions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32F3D5A7-E7A9-4A02-B0FC-4F987CA7C555}" type="slidenum">
              <a:rPr lang="en-US" smtClean="0">
                <a:solidFill>
                  <a:srgbClr val="414042"/>
                </a:solidFill>
              </a:rPr>
              <a:pPr/>
              <a:t>‹#›</a:t>
            </a:fld>
            <a:endParaRPr lang="en-US" dirty="0">
              <a:solidFill>
                <a:srgbClr val="4140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089739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A909E7-D3C1-490D-A0F5-69F879054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A909E7-D3C1-490D-A0F5-69F879054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7686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414042"/>
                </a:solidFill>
              </a:rPr>
              <a:t>© IGT Solutions Pvt. Ltd. | Confidential: Not for Distribution | www.igtsolutions.com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32F3D5A7-E7A9-4A02-B0FC-4F987CA7C555}" type="slidenum">
              <a:rPr lang="en-US" smtClean="0">
                <a:solidFill>
                  <a:srgbClr val="414042"/>
                </a:solidFill>
              </a:rPr>
              <a:pPr/>
              <a:t>‹#›</a:t>
            </a:fld>
            <a:endParaRPr lang="en-US" dirty="0">
              <a:solidFill>
                <a:srgbClr val="4140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40571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9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7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3587700" y="2615342"/>
            <a:ext cx="7938726" cy="925512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sosceles Triangle 2"/>
          <p:cNvSpPr/>
          <p:nvPr userDrawn="1"/>
        </p:nvSpPr>
        <p:spPr>
          <a:xfrm rot="16200000">
            <a:off x="2507114" y="2462808"/>
            <a:ext cx="920432" cy="1240740"/>
          </a:xfrm>
          <a:prstGeom prst="triangle">
            <a:avLst>
              <a:gd name="adj" fmla="val 0"/>
            </a:avLst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accent3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726082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1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65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4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376885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517161" y="640503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1169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8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127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1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4733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3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7232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6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76245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8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746519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50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3981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3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504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812626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5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86589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8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6843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8052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2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3468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53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20038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7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4591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70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2531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2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3640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4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31945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7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82469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/>
          <p:cNvSpPr>
            <a:spLocks noGrp="1"/>
          </p:cNvSpPr>
          <p:nvPr>
            <p:ph type="body" sz="quarter" idx="10" hasCustomPrompt="1"/>
          </p:nvPr>
        </p:nvSpPr>
        <p:spPr>
          <a:xfrm>
            <a:off x="455731" y="277285"/>
            <a:ext cx="9976861" cy="58208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aseline="0">
                <a:solidFill>
                  <a:schemeClr val="accent3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09433" indent="0">
              <a:buNone/>
              <a:defRPr/>
            </a:lvl2pPr>
            <a:lvl3pPr marL="1218864" indent="0">
              <a:buNone/>
              <a:defRPr/>
            </a:lvl3pPr>
            <a:lvl4pPr marL="1828297" indent="0">
              <a:buNone/>
              <a:defRPr/>
            </a:lvl4pPr>
            <a:lvl5pPr marL="2437730" indent="0">
              <a:buNone/>
              <a:defRPr/>
            </a:lvl5pPr>
          </a:lstStyle>
          <a:p>
            <a:pPr lvl="0"/>
            <a:r>
              <a:rPr lang="en-US" dirty="0"/>
              <a:t>Enter Title He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0069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9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92071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2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544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8500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6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468288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9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4761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1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64462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4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20732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6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4067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8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 2. xxxx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5582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01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164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0356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3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122742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6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387257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6771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0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05677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3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8530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5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82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8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79082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20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6885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2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768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25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9926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3587700" y="2615342"/>
            <a:ext cx="7938726" cy="925512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sosceles Triangle 2"/>
          <p:cNvSpPr/>
          <p:nvPr userDrawn="1"/>
        </p:nvSpPr>
        <p:spPr>
          <a:xfrm rot="16200000">
            <a:off x="2507114" y="2462808"/>
            <a:ext cx="920432" cy="1240740"/>
          </a:xfrm>
          <a:prstGeom prst="triangle">
            <a:avLst>
              <a:gd name="adj" fmla="val 0"/>
            </a:avLst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accent3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7363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2646248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4786" y="383687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1987202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7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4534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01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90546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3283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4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604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7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284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39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85866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42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2031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44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252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46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392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9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7426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5" y="2615342"/>
            <a:ext cx="6911444" cy="925512"/>
          </a:xfrm>
          <a:prstGeom prst="rect">
            <a:avLst/>
          </a:prstGeom>
          <a:solidFill>
            <a:srgbClr val="0A1315">
              <a:alpha val="39000"/>
            </a:srgb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>
                    <a:lumMod val="9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794089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1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7968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4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43781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2077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8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7109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61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96023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3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36099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6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9391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68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588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70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 2. xxxx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1664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7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5112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4" y="2615342"/>
            <a:ext cx="6928042" cy="92551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4595231" y="2619375"/>
            <a:ext cx="45719" cy="916716"/>
          </a:xfrm>
          <a:prstGeom prst="rect">
            <a:avLst/>
          </a:prstGeom>
          <a:solidFill>
            <a:schemeClr val="tx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275808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08277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7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8520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3906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3E6CD2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3E6CD2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52965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58179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8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3E6CD2"/>
                </a:solidFill>
                <a:latin typeface="Arial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1414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9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7287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161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4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Arial"/>
              <a:sym typeface="+mn-lt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2F3D5A7-E7A9-4A02-B0FC-4F987CA7C555}" type="slidenum">
              <a:rPr lang="en-US" smtClean="0">
                <a:solidFill>
                  <a:srgbClr val="414042"/>
                </a:solidFill>
                <a:latin typeface="Arial"/>
                <a:sym typeface="+mn-lt"/>
              </a:rPr>
              <a:pPr>
                <a:defRPr/>
              </a:pPr>
              <a:t>‹#›</a:t>
            </a:fld>
            <a:endParaRPr lang="en-US" dirty="0">
              <a:solidFill>
                <a:srgbClr val="414042"/>
              </a:solidFill>
              <a:latin typeface="Arial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302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97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2F3D5A7-E7A9-4A02-B0FC-4F987CA7C555}" type="slidenum">
              <a:rPr lang="en-US" smtClean="0">
                <a:solidFill>
                  <a:srgbClr val="414042"/>
                </a:solidFill>
                <a:latin typeface="Arial"/>
                <a:sym typeface="+mn-lt"/>
              </a:rPr>
              <a:pPr>
                <a:defRPr/>
              </a:pPr>
              <a:t>‹#›</a:t>
            </a:fld>
            <a:endParaRPr lang="en-US" dirty="0">
              <a:solidFill>
                <a:srgbClr val="414042"/>
              </a:solidFill>
              <a:latin typeface="Arial"/>
              <a:sym typeface="+mn-lt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723899" y="3221346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Arial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9337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/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4" y="2615342"/>
            <a:ext cx="6928042" cy="925512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0934554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3648802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1448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9327" y="6356350"/>
            <a:ext cx="9725024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414042"/>
                </a:solidFill>
              </a:rPr>
              <a:t>© IGT Solutions Pvt. Ltd. | Confidential: Not for Distribution | www.igtsolutions.com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4A7CC33-11F4-41B3-8ABD-D75E7FFA5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9200" y="6331183"/>
            <a:ext cx="406400" cy="365125"/>
          </a:xfrm>
        </p:spPr>
        <p:txBody>
          <a:bodyPr/>
          <a:lstStyle/>
          <a:p>
            <a:fld id="{32F3D5A7-E7A9-4A02-B0FC-4F987CA7C555}" type="slidenum">
              <a:rPr lang="en-US" smtClean="0">
                <a:solidFill>
                  <a:srgbClr val="414042"/>
                </a:solidFill>
              </a:rPr>
              <a:pPr/>
              <a:t>‹#›</a:t>
            </a:fld>
            <a:endParaRPr lang="en-US" dirty="0">
              <a:solidFill>
                <a:srgbClr val="4140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49004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29B974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6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414042">
                    <a:tint val="75000"/>
                  </a:srgbClr>
                </a:solidFill>
              </a:rPr>
              <a:pPr/>
              <a:t>8/30/2021</a:t>
            </a:fld>
            <a:endParaRPr lang="en-US"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414042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568242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29B974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414042">
                    <a:tint val="75000"/>
                  </a:srgbClr>
                </a:solidFill>
              </a:rPr>
              <a:pPr/>
              <a:t>8/30/2021</a:t>
            </a:fld>
            <a:endParaRPr lang="en-US"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414042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941512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85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2646248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4786" y="383687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995145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02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168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1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6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57412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9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517161" y="640503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7905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/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3587700" y="2615342"/>
            <a:ext cx="7938726" cy="925512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sosceles Triangle 2"/>
          <p:cNvSpPr/>
          <p:nvPr userDrawn="1"/>
        </p:nvSpPr>
        <p:spPr>
          <a:xfrm rot="16200000">
            <a:off x="2507114" y="2462808"/>
            <a:ext cx="920432" cy="1240740"/>
          </a:xfrm>
          <a:prstGeom prst="triangle">
            <a:avLst>
              <a:gd name="adj" fmla="val 0"/>
            </a:avLst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accent3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05349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1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14418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4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403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6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6974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8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7022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1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264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3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7698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6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99973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7786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0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8281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3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24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57923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5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00970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81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5006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0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594055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2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2028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5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82502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7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3437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0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28951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9766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4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2598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7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646311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992016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9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5428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2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8992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4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1016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6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7447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9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8677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71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 2. xxxx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226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4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99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2432699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8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211677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1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06228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9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187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3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2515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6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23311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8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759838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90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4340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3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75426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5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76459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8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2504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5936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29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2528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5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0031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407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7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1492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10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9317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2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2657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4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70008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7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59729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9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3860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2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55150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6403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6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1387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9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91965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5900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856362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1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8829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4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6626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6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93288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8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6982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1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146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3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 2. xxxx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1650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1826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9481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4484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3673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8644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/>
          </p:nvPr>
        </p:nvSpPr>
        <p:spPr>
          <a:xfrm>
            <a:off x="576361" y="1185024"/>
            <a:ext cx="2558725" cy="1819434"/>
          </a:xfrm>
        </p:spPr>
        <p:txBody>
          <a:bodyPr anchor="t" anchorCtr="0"/>
          <a:lstStyle/>
          <a:p>
            <a:r>
              <a:rPr lang="en-US" sz="3000" smtClean="0">
                <a:solidFill>
                  <a:schemeClr val="accent1"/>
                </a:solidFill>
              </a:rPr>
              <a:t>Click to edit Master title style</a:t>
            </a:r>
            <a:endParaRPr lang="en-US" sz="3000" dirty="0">
              <a:solidFill>
                <a:schemeClr val="accent1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94530" y="-25"/>
            <a:ext cx="0" cy="5540213"/>
          </a:xfrm>
          <a:prstGeom prst="line">
            <a:avLst/>
          </a:prstGeom>
          <a:ln>
            <a:solidFill>
              <a:srgbClr val="F15A2B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3603140" y="1185024"/>
            <a:ext cx="7487478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812725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3E6CD2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3E6CD2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2860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491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3E6CD2"/>
                </a:solidFill>
                <a:latin typeface="Arial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21663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prstClr val="white"/>
                </a:solidFill>
                <a:sym typeface="+mn-lt"/>
              </a:rPr>
              <a:t>Agenda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9225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21448E"/>
                </a:solidFill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665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7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Arial"/>
              <a:sym typeface="+mn-lt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2F3D5A7-E7A9-4A02-B0FC-4F987CA7C555}" type="slidenum">
              <a:rPr lang="en-US" smtClean="0">
                <a:solidFill>
                  <a:srgbClr val="414042"/>
                </a:solidFill>
                <a:latin typeface="Arial"/>
                <a:sym typeface="+mn-lt"/>
              </a:rPr>
              <a:pPr>
                <a:defRPr/>
              </a:pPr>
              <a:t>‹#›</a:t>
            </a:fld>
            <a:endParaRPr lang="en-US" dirty="0">
              <a:solidFill>
                <a:srgbClr val="414042"/>
              </a:solidFill>
              <a:latin typeface="Arial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2155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70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2F3D5A7-E7A9-4A02-B0FC-4F987CA7C555}" type="slidenum">
              <a:rPr lang="en-US" smtClean="0">
                <a:solidFill>
                  <a:srgbClr val="414042"/>
                </a:solidFill>
                <a:latin typeface="Arial"/>
                <a:sym typeface="+mn-lt"/>
              </a:rPr>
              <a:pPr>
                <a:defRPr/>
              </a:pPr>
              <a:t>‹#›</a:t>
            </a:fld>
            <a:endParaRPr lang="en-US" dirty="0">
              <a:solidFill>
                <a:srgbClr val="414042"/>
              </a:solidFill>
              <a:latin typeface="Arial"/>
              <a:sym typeface="+mn-lt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723899" y="3221346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  <a:latin typeface="Arial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9020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9684443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1448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9327" y="6356350"/>
            <a:ext cx="9725024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r>
              <a:rPr dirty="0">
                <a:solidFill>
                  <a:srgbClr val="414042"/>
                </a:solidFill>
              </a:rPr>
              <a:t>© IGT Solutions Pvt. Ltd. | Confidential: Not for Distribution | www.igtsolutions.com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4A7CC33-11F4-41B3-8ABD-D75E7FFA5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9200" y="6331183"/>
            <a:ext cx="406400" cy="365125"/>
          </a:xfrm>
        </p:spPr>
        <p:txBody>
          <a:bodyPr/>
          <a:lstStyle/>
          <a:p>
            <a:fld id="{32F3D5A7-E7A9-4A02-B0FC-4F987CA7C555}" type="slidenum">
              <a:rPr lang="en-US" smtClean="0">
                <a:solidFill>
                  <a:srgbClr val="414042"/>
                </a:solidFill>
              </a:rPr>
              <a:pPr/>
              <a:t>‹#›</a:t>
            </a:fld>
            <a:endParaRPr lang="en-US" dirty="0">
              <a:solidFill>
                <a:srgbClr val="4140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197177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7686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27964" y="6356350"/>
            <a:ext cx="9725024" cy="365125"/>
          </a:xfrm>
        </p:spPr>
        <p:txBody>
          <a:bodyPr/>
          <a:lstStyle/>
          <a:p>
            <a:r>
              <a:rPr lang="en-US" dirty="0">
                <a:solidFill>
                  <a:srgbClr val="414042"/>
                </a:solidFill>
              </a:rPr>
              <a:t>© IGT Solutions Pvt. Ltd. | Confidential: Not for Distribution | www.igtsolutions.com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79200" y="6331183"/>
            <a:ext cx="406400" cy="365125"/>
          </a:xfrm>
        </p:spPr>
        <p:txBody>
          <a:bodyPr/>
          <a:lstStyle/>
          <a:p>
            <a:fld id="{32F3D5A7-E7A9-4A02-B0FC-4F987CA7C555}" type="slidenum">
              <a:rPr lang="en-US" smtClean="0">
                <a:solidFill>
                  <a:srgbClr val="414042"/>
                </a:solidFill>
              </a:rPr>
              <a:pPr/>
              <a:t>‹#›</a:t>
            </a:fld>
            <a:endParaRPr lang="en-US" dirty="0">
              <a:solidFill>
                <a:srgbClr val="4140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7719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2646248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4786" y="383687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2395743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29B974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6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414042">
                    <a:tint val="75000"/>
                  </a:srgbClr>
                </a:solidFill>
              </a:rPr>
              <a:pPr/>
              <a:t>8/30/2021</a:t>
            </a:fld>
            <a:endParaRPr lang="en-US"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414042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987691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29B974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414042">
                    <a:tint val="75000"/>
                  </a:srgbClr>
                </a:solidFill>
              </a:rPr>
              <a:pPr/>
              <a:t>8/30/2021</a:t>
            </a:fld>
            <a:endParaRPr lang="en-US" dirty="0">
              <a:solidFill>
                <a:srgbClr val="414042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414042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4140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015600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5463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2646248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4786" y="383687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007680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5" y="2615342"/>
            <a:ext cx="6911444" cy="925512"/>
          </a:xfrm>
          <a:prstGeom prst="rect">
            <a:avLst/>
          </a:prstGeom>
          <a:solidFill>
            <a:srgbClr val="0A1315">
              <a:alpha val="39000"/>
            </a:srgb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dirty="0">
              <a:solidFill>
                <a:srgbClr val="F15B2A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>
                    <a:lumMod val="9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7873256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4" y="2615342"/>
            <a:ext cx="6928042" cy="92551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dirty="0">
              <a:solidFill>
                <a:srgbClr val="F15B2A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4595231" y="2619375"/>
            <a:ext cx="45719" cy="916716"/>
          </a:xfrm>
          <a:prstGeom prst="rect">
            <a:avLst/>
          </a:prstGeom>
          <a:solidFill>
            <a:schemeClr val="tx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085827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 userDrawn="1"/>
        </p:nvSpPr>
        <p:spPr>
          <a:xfrm>
            <a:off x="4598384" y="2615342"/>
            <a:ext cx="6928042" cy="925512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dirty="0">
              <a:solidFill>
                <a:srgbClr val="F15B2A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0572287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3" t="2120"/>
          <a:stretch/>
        </p:blipFill>
        <p:spPr>
          <a:xfrm>
            <a:off x="0" y="1827566"/>
            <a:ext cx="11526426" cy="5030434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39752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7107" y="470696"/>
            <a:ext cx="1335293" cy="89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/>
          <p:cNvGrpSpPr/>
          <p:nvPr userDrawn="1"/>
        </p:nvGrpSpPr>
        <p:grpSpPr>
          <a:xfrm>
            <a:off x="2346960" y="2615342"/>
            <a:ext cx="9179466" cy="928052"/>
            <a:chOff x="2346960" y="2615342"/>
            <a:chExt cx="9179466" cy="928052"/>
          </a:xfrm>
        </p:grpSpPr>
        <p:sp>
          <p:nvSpPr>
            <p:cNvPr id="3" name="Isosceles Triangle 2"/>
            <p:cNvSpPr/>
            <p:nvPr userDrawn="1"/>
          </p:nvSpPr>
          <p:spPr>
            <a:xfrm rot="16200000">
              <a:off x="2507114" y="2462808"/>
              <a:ext cx="920432" cy="1240740"/>
            </a:xfrm>
            <a:prstGeom prst="triangle">
              <a:avLst>
                <a:gd name="adj" fmla="val 0"/>
              </a:avLst>
            </a:prstGeom>
            <a:solidFill>
              <a:schemeClr val="bg1">
                <a:alpha val="85000"/>
              </a:schemeClr>
            </a:solidFill>
          </p:spPr>
          <p:txBody>
            <a:bodyPr vert="horz" lIns="91440" tIns="45720" rIns="91440" bIns="45720" rtlCol="0" anchor="ctr">
              <a:normAutofit fontScale="97500"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</a:pPr>
              <a:endParaRPr lang="en-US" sz="3000" dirty="0">
                <a:solidFill>
                  <a:srgbClr val="F15B2A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Title 2"/>
            <p:cNvSpPr txBox="1">
              <a:spLocks/>
            </p:cNvSpPr>
            <p:nvPr userDrawn="1"/>
          </p:nvSpPr>
          <p:spPr>
            <a:xfrm>
              <a:off x="3587700" y="2615342"/>
              <a:ext cx="7938726" cy="925512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</p:spPr>
          <p:txBody>
            <a:bodyPr vert="horz" lIns="91440" tIns="45720" rIns="91440" bIns="45720" rtlCol="0" anchor="ctr">
              <a:normAutofit fontScale="975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000" kern="1200" dirty="0">
                  <a:solidFill>
                    <a:schemeClr val="accent1"/>
                  </a:solidFill>
                  <a:latin typeface="+mn-lt"/>
                  <a:ea typeface="+mj-ea"/>
                  <a:cs typeface="Arial" panose="020B0604020202020204" pitchFamily="34" charset="0"/>
                </a:defRPr>
              </a:lvl1pPr>
            </a:lstStyle>
            <a:p>
              <a:endParaRPr dirty="0">
                <a:solidFill>
                  <a:srgbClr val="F15B2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8783492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142869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46590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/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3170681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212231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8505594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297779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5900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15B2A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441401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/>
          </p:nvPr>
        </p:nvSpPr>
        <p:spPr>
          <a:xfrm>
            <a:off x="576361" y="1185024"/>
            <a:ext cx="2558725" cy="1819434"/>
          </a:xfrm>
        </p:spPr>
        <p:txBody>
          <a:bodyPr anchor="t" anchorCtr="0"/>
          <a:lstStyle/>
          <a:p>
            <a:r>
              <a:rPr lang="en-US" sz="3000">
                <a:solidFill>
                  <a:schemeClr val="accent1"/>
                </a:solidFill>
              </a:rPr>
              <a:t>Click to edit Master title style</a:t>
            </a:r>
            <a:endParaRPr lang="en-US" sz="3000" dirty="0">
              <a:solidFill>
                <a:schemeClr val="accent1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94530" y="-25"/>
            <a:ext cx="0" cy="5540213"/>
          </a:xfrm>
          <a:prstGeom prst="line">
            <a:avLst/>
          </a:prstGeom>
          <a:ln>
            <a:solidFill>
              <a:srgbClr val="F15A2B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3603140" y="1185024"/>
            <a:ext cx="7487478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167100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2646248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4786" y="383687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9881763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14"/>
          <a:stretch/>
        </p:blipFill>
        <p:spPr>
          <a:xfrm>
            <a:off x="-13253" y="2565506"/>
            <a:ext cx="7350319" cy="24569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64784" y="3170681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964677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137931" y="2860676"/>
            <a:ext cx="5804687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37933" y="4051300"/>
            <a:ext cx="5827688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239" y="2860676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886906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2860676"/>
            <a:ext cx="5486400" cy="925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238" y="2865438"/>
            <a:ext cx="4762500" cy="4762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239" y="2860676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14587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93E49A-1799-4551-A617-FB32176596D9}" type="slidenum">
              <a:rPr lang="en-US" smtClean="0">
                <a:solidFill>
                  <a:srgbClr val="414042"/>
                </a:solidFill>
              </a:rPr>
              <a:pPr/>
              <a:t>‹#›</a:t>
            </a:fld>
            <a:endParaRPr lang="en-US" dirty="0">
              <a:solidFill>
                <a:srgbClr val="414042"/>
              </a:solidFill>
            </a:endParaRPr>
          </a:p>
        </p:txBody>
      </p:sp>
      <p:sp>
        <p:nvSpPr>
          <p:cNvPr id="6" name="Title 12"/>
          <p:cNvSpPr>
            <a:spLocks noGrp="1"/>
          </p:cNvSpPr>
          <p:nvPr>
            <p:ph type="title" hasCustomPrompt="1"/>
          </p:nvPr>
        </p:nvSpPr>
        <p:spPr>
          <a:xfrm>
            <a:off x="203201" y="177569"/>
            <a:ext cx="9733111" cy="521681"/>
          </a:xfr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>
            <a:lvl1pPr marL="0" algn="l" defTabSz="914174" rtl="0" eaLnBrk="0" latinLnBrk="0" hangingPunct="0">
              <a:defRPr lang="en-US" sz="3100" b="1" kern="1200" baseline="0" dirty="0">
                <a:solidFill>
                  <a:srgbClr val="A2A2A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7" name="Content Placeholder 15"/>
          <p:cNvSpPr>
            <a:spLocks noGrp="1"/>
          </p:cNvSpPr>
          <p:nvPr>
            <p:ph sz="quarter" idx="11" hasCustomPrompt="1"/>
          </p:nvPr>
        </p:nvSpPr>
        <p:spPr>
          <a:xfrm>
            <a:off x="232567" y="774845"/>
            <a:ext cx="8626079" cy="44435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17" tIns="45709" rIns="91417" bIns="45709" rtlCol="0" anchor="t">
            <a:spAutoFit/>
          </a:bodyPr>
          <a:lstStyle>
            <a:lvl1pPr algn="l">
              <a:buFont typeface="Arial" pitchFamily="34" charset="0"/>
              <a:buNone/>
              <a:def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2A2A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174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ub Heading</a:t>
            </a:r>
          </a:p>
        </p:txBody>
      </p:sp>
    </p:spTree>
    <p:extLst>
      <p:ext uri="{BB962C8B-B14F-4D97-AF65-F5344CB8AC3E}">
        <p14:creationId xmlns:p14="http://schemas.microsoft.com/office/powerpoint/2010/main" val="21610809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53" y="0"/>
            <a:ext cx="12192000" cy="68580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6137931" y="2860676"/>
            <a:ext cx="5804687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37933" y="4051300"/>
            <a:ext cx="5827688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9" y="2860676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3814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2860676"/>
            <a:ext cx="5486400" cy="925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Thank </a:t>
            </a:r>
            <a:r>
              <a:rPr lang="en-US" dirty="0"/>
              <a:t>You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8" y="2865438"/>
            <a:ext cx="4762500" cy="4762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9" y="2860676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3315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31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6558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734687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7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800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9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18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2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3170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447135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517161" y="640503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32473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09457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4854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901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4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47708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6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02054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8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3702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52048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3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6386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6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5404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37883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4849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0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5253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3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284356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6219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8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934479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0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92182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82126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0056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7272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28645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1683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14042"/>
              </a:solidFill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1802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4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52710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24734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9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57076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2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05658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4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53032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6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14042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14042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1. xxxx 2. xxxx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5273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79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197232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103607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330207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5900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80533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6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9960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8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52747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1529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3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00021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6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95719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77876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0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79793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79519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3905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1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85169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98.xml"/><Relationship Id="rId47" Type="http://schemas.openxmlformats.org/officeDocument/2006/relationships/slideLayout" Target="../slideLayouts/slideLayout103.xml"/><Relationship Id="rId63" Type="http://schemas.openxmlformats.org/officeDocument/2006/relationships/slideLayout" Target="../slideLayouts/slideLayout119.xml"/><Relationship Id="rId68" Type="http://schemas.openxmlformats.org/officeDocument/2006/relationships/slideLayout" Target="../slideLayouts/slideLayout124.xml"/><Relationship Id="rId84" Type="http://schemas.openxmlformats.org/officeDocument/2006/relationships/image" Target="../media/image17.emf"/><Relationship Id="rId1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53" Type="http://schemas.openxmlformats.org/officeDocument/2006/relationships/slideLayout" Target="../slideLayouts/slideLayout109.xml"/><Relationship Id="rId58" Type="http://schemas.openxmlformats.org/officeDocument/2006/relationships/slideLayout" Target="../slideLayouts/slideLayout114.xml"/><Relationship Id="rId74" Type="http://schemas.openxmlformats.org/officeDocument/2006/relationships/slideLayout" Target="../slideLayouts/slideLayout130.xml"/><Relationship Id="rId79" Type="http://schemas.openxmlformats.org/officeDocument/2006/relationships/theme" Target="../theme/theme2.xml"/><Relationship Id="rId5" Type="http://schemas.openxmlformats.org/officeDocument/2006/relationships/slideLayout" Target="../slideLayouts/slideLayout61.xml"/><Relationship Id="rId61" Type="http://schemas.openxmlformats.org/officeDocument/2006/relationships/slideLayout" Target="../slideLayouts/slideLayout117.xml"/><Relationship Id="rId82" Type="http://schemas.openxmlformats.org/officeDocument/2006/relationships/tags" Target="../tags/tag6.xml"/><Relationship Id="rId1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48" Type="http://schemas.openxmlformats.org/officeDocument/2006/relationships/slideLayout" Target="../slideLayouts/slideLayout104.xml"/><Relationship Id="rId56" Type="http://schemas.openxmlformats.org/officeDocument/2006/relationships/slideLayout" Target="../slideLayouts/slideLayout112.xml"/><Relationship Id="rId64" Type="http://schemas.openxmlformats.org/officeDocument/2006/relationships/slideLayout" Target="../slideLayouts/slideLayout120.xml"/><Relationship Id="rId69" Type="http://schemas.openxmlformats.org/officeDocument/2006/relationships/slideLayout" Target="../slideLayouts/slideLayout125.xml"/><Relationship Id="rId77" Type="http://schemas.openxmlformats.org/officeDocument/2006/relationships/slideLayout" Target="../slideLayouts/slideLayout133.xml"/><Relationship Id="rId8" Type="http://schemas.openxmlformats.org/officeDocument/2006/relationships/slideLayout" Target="../slideLayouts/slideLayout64.xml"/><Relationship Id="rId51" Type="http://schemas.openxmlformats.org/officeDocument/2006/relationships/slideLayout" Target="../slideLayouts/slideLayout107.xml"/><Relationship Id="rId72" Type="http://schemas.openxmlformats.org/officeDocument/2006/relationships/slideLayout" Target="../slideLayouts/slideLayout128.xml"/><Relationship Id="rId80" Type="http://schemas.openxmlformats.org/officeDocument/2006/relationships/vmlDrawing" Target="../drawings/vmlDrawing3.vml"/><Relationship Id="rId3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slideLayout" Target="../slideLayouts/slideLayout102.xml"/><Relationship Id="rId59" Type="http://schemas.openxmlformats.org/officeDocument/2006/relationships/slideLayout" Target="../slideLayouts/slideLayout115.xml"/><Relationship Id="rId67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97.xml"/><Relationship Id="rId54" Type="http://schemas.openxmlformats.org/officeDocument/2006/relationships/slideLayout" Target="../slideLayouts/slideLayout110.xml"/><Relationship Id="rId62" Type="http://schemas.openxmlformats.org/officeDocument/2006/relationships/slideLayout" Target="../slideLayouts/slideLayout118.xml"/><Relationship Id="rId70" Type="http://schemas.openxmlformats.org/officeDocument/2006/relationships/slideLayout" Target="../slideLayouts/slideLayout126.xml"/><Relationship Id="rId75" Type="http://schemas.openxmlformats.org/officeDocument/2006/relationships/slideLayout" Target="../slideLayouts/slideLayout131.xml"/><Relationship Id="rId83" Type="http://schemas.openxmlformats.org/officeDocument/2006/relationships/oleObject" Target="../embeddings/oleObject3.bin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49" Type="http://schemas.openxmlformats.org/officeDocument/2006/relationships/slideLayout" Target="../slideLayouts/slideLayout105.xml"/><Relationship Id="rId57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52" Type="http://schemas.openxmlformats.org/officeDocument/2006/relationships/slideLayout" Target="../slideLayouts/slideLayout108.xml"/><Relationship Id="rId60" Type="http://schemas.openxmlformats.org/officeDocument/2006/relationships/slideLayout" Target="../slideLayouts/slideLayout116.xml"/><Relationship Id="rId65" Type="http://schemas.openxmlformats.org/officeDocument/2006/relationships/slideLayout" Target="../slideLayouts/slideLayout121.xml"/><Relationship Id="rId73" Type="http://schemas.openxmlformats.org/officeDocument/2006/relationships/slideLayout" Target="../slideLayouts/slideLayout129.xml"/><Relationship Id="rId78" Type="http://schemas.openxmlformats.org/officeDocument/2006/relationships/slideLayout" Target="../slideLayouts/slideLayout134.xml"/><Relationship Id="rId81" Type="http://schemas.openxmlformats.org/officeDocument/2006/relationships/tags" Target="../tags/tag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90.xml"/><Relationship Id="rId50" Type="http://schemas.openxmlformats.org/officeDocument/2006/relationships/slideLayout" Target="../slideLayouts/slideLayout106.xml"/><Relationship Id="rId55" Type="http://schemas.openxmlformats.org/officeDocument/2006/relationships/slideLayout" Target="../slideLayouts/slideLayout111.xml"/><Relationship Id="rId76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63.xml"/><Relationship Id="rId71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96.xml"/><Relationship Id="rId45" Type="http://schemas.openxmlformats.org/officeDocument/2006/relationships/slideLayout" Target="../slideLayouts/slideLayout101.xml"/><Relationship Id="rId66" Type="http://schemas.openxmlformats.org/officeDocument/2006/relationships/slideLayout" Target="../slideLayouts/slideLayout12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55.xml"/><Relationship Id="rId42" Type="http://schemas.openxmlformats.org/officeDocument/2006/relationships/slideLayout" Target="../slideLayouts/slideLayout176.xml"/><Relationship Id="rId47" Type="http://schemas.openxmlformats.org/officeDocument/2006/relationships/slideLayout" Target="../slideLayouts/slideLayout181.xml"/><Relationship Id="rId63" Type="http://schemas.openxmlformats.org/officeDocument/2006/relationships/slideLayout" Target="../slideLayouts/slideLayout197.xml"/><Relationship Id="rId68" Type="http://schemas.openxmlformats.org/officeDocument/2006/relationships/slideLayout" Target="../slideLayouts/slideLayout202.xml"/><Relationship Id="rId84" Type="http://schemas.openxmlformats.org/officeDocument/2006/relationships/image" Target="../media/image1.png"/><Relationship Id="rId1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45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53" Type="http://schemas.openxmlformats.org/officeDocument/2006/relationships/slideLayout" Target="../slideLayouts/slideLayout187.xml"/><Relationship Id="rId58" Type="http://schemas.openxmlformats.org/officeDocument/2006/relationships/slideLayout" Target="../slideLayouts/slideLayout192.xml"/><Relationship Id="rId74" Type="http://schemas.openxmlformats.org/officeDocument/2006/relationships/slideLayout" Target="../slideLayouts/slideLayout208.xml"/><Relationship Id="rId79" Type="http://schemas.openxmlformats.org/officeDocument/2006/relationships/vmlDrawing" Target="../drawings/vmlDrawing75.vml"/><Relationship Id="rId5" Type="http://schemas.openxmlformats.org/officeDocument/2006/relationships/slideLayout" Target="../slideLayouts/slideLayout139.xml"/><Relationship Id="rId61" Type="http://schemas.openxmlformats.org/officeDocument/2006/relationships/slideLayout" Target="../slideLayouts/slideLayout195.xml"/><Relationship Id="rId82" Type="http://schemas.openxmlformats.org/officeDocument/2006/relationships/oleObject" Target="../embeddings/oleObject75.bin"/><Relationship Id="rId1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slideLayout" Target="../slideLayouts/slideLayout177.xml"/><Relationship Id="rId48" Type="http://schemas.openxmlformats.org/officeDocument/2006/relationships/slideLayout" Target="../slideLayouts/slideLayout182.xml"/><Relationship Id="rId56" Type="http://schemas.openxmlformats.org/officeDocument/2006/relationships/slideLayout" Target="../slideLayouts/slideLayout190.xml"/><Relationship Id="rId64" Type="http://schemas.openxmlformats.org/officeDocument/2006/relationships/slideLayout" Target="../slideLayouts/slideLayout198.xml"/><Relationship Id="rId69" Type="http://schemas.openxmlformats.org/officeDocument/2006/relationships/slideLayout" Target="../slideLayouts/slideLayout203.xml"/><Relationship Id="rId77" Type="http://schemas.openxmlformats.org/officeDocument/2006/relationships/slideLayout" Target="../slideLayouts/slideLayout211.xml"/><Relationship Id="rId8" Type="http://schemas.openxmlformats.org/officeDocument/2006/relationships/slideLayout" Target="../slideLayouts/slideLayout142.xml"/><Relationship Id="rId51" Type="http://schemas.openxmlformats.org/officeDocument/2006/relationships/slideLayout" Target="../slideLayouts/slideLayout185.xml"/><Relationship Id="rId72" Type="http://schemas.openxmlformats.org/officeDocument/2006/relationships/slideLayout" Target="../slideLayouts/slideLayout206.xml"/><Relationship Id="rId80" Type="http://schemas.openxmlformats.org/officeDocument/2006/relationships/tags" Target="../tags/tag127.xml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46" Type="http://schemas.openxmlformats.org/officeDocument/2006/relationships/slideLayout" Target="../slideLayouts/slideLayout180.xml"/><Relationship Id="rId59" Type="http://schemas.openxmlformats.org/officeDocument/2006/relationships/slideLayout" Target="../slideLayouts/slideLayout193.xml"/><Relationship Id="rId67" Type="http://schemas.openxmlformats.org/officeDocument/2006/relationships/slideLayout" Target="../slideLayouts/slideLayout201.xml"/><Relationship Id="rId20" Type="http://schemas.openxmlformats.org/officeDocument/2006/relationships/slideLayout" Target="../slideLayouts/slideLayout154.xml"/><Relationship Id="rId41" Type="http://schemas.openxmlformats.org/officeDocument/2006/relationships/slideLayout" Target="../slideLayouts/slideLayout175.xml"/><Relationship Id="rId54" Type="http://schemas.openxmlformats.org/officeDocument/2006/relationships/slideLayout" Target="../slideLayouts/slideLayout188.xml"/><Relationship Id="rId62" Type="http://schemas.openxmlformats.org/officeDocument/2006/relationships/slideLayout" Target="../slideLayouts/slideLayout196.xml"/><Relationship Id="rId70" Type="http://schemas.openxmlformats.org/officeDocument/2006/relationships/slideLayout" Target="../slideLayouts/slideLayout204.xml"/><Relationship Id="rId75" Type="http://schemas.openxmlformats.org/officeDocument/2006/relationships/slideLayout" Target="../slideLayouts/slideLayout209.xml"/><Relationship Id="rId83" Type="http://schemas.openxmlformats.org/officeDocument/2006/relationships/image" Target="../media/image17.emf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49" Type="http://schemas.openxmlformats.org/officeDocument/2006/relationships/slideLayout" Target="../slideLayouts/slideLayout183.xml"/><Relationship Id="rId57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65.xml"/><Relationship Id="rId44" Type="http://schemas.openxmlformats.org/officeDocument/2006/relationships/slideLayout" Target="../slideLayouts/slideLayout178.xml"/><Relationship Id="rId52" Type="http://schemas.openxmlformats.org/officeDocument/2006/relationships/slideLayout" Target="../slideLayouts/slideLayout186.xml"/><Relationship Id="rId60" Type="http://schemas.openxmlformats.org/officeDocument/2006/relationships/slideLayout" Target="../slideLayouts/slideLayout194.xml"/><Relationship Id="rId65" Type="http://schemas.openxmlformats.org/officeDocument/2006/relationships/slideLayout" Target="../slideLayouts/slideLayout199.xml"/><Relationship Id="rId73" Type="http://schemas.openxmlformats.org/officeDocument/2006/relationships/slideLayout" Target="../slideLayouts/slideLayout207.xml"/><Relationship Id="rId78" Type="http://schemas.openxmlformats.org/officeDocument/2006/relationships/theme" Target="../theme/theme3.xml"/><Relationship Id="rId81" Type="http://schemas.openxmlformats.org/officeDocument/2006/relationships/tags" Target="../tags/tag128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39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68.xml"/><Relationship Id="rId50" Type="http://schemas.openxmlformats.org/officeDocument/2006/relationships/slideLayout" Target="../slideLayouts/slideLayout184.xml"/><Relationship Id="rId55" Type="http://schemas.openxmlformats.org/officeDocument/2006/relationships/slideLayout" Target="../slideLayouts/slideLayout189.xml"/><Relationship Id="rId76" Type="http://schemas.openxmlformats.org/officeDocument/2006/relationships/slideLayout" Target="../slideLayouts/slideLayout210.xml"/><Relationship Id="rId7" Type="http://schemas.openxmlformats.org/officeDocument/2006/relationships/slideLayout" Target="../slideLayouts/slideLayout141.xml"/><Relationship Id="rId71" Type="http://schemas.openxmlformats.org/officeDocument/2006/relationships/slideLayout" Target="../slideLayouts/slideLayout205.xml"/><Relationship Id="rId2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58.xml"/><Relationship Id="rId40" Type="http://schemas.openxmlformats.org/officeDocument/2006/relationships/slideLayout" Target="../slideLayouts/slideLayout174.xml"/><Relationship Id="rId45" Type="http://schemas.openxmlformats.org/officeDocument/2006/relationships/slideLayout" Target="../slideLayouts/slideLayout179.xml"/><Relationship Id="rId66" Type="http://schemas.openxmlformats.org/officeDocument/2006/relationships/slideLayout" Target="../slideLayouts/slideLayout200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37.xml"/><Relationship Id="rId21" Type="http://schemas.openxmlformats.org/officeDocument/2006/relationships/slideLayout" Target="../slideLayouts/slideLayout232.xml"/><Relationship Id="rId42" Type="http://schemas.openxmlformats.org/officeDocument/2006/relationships/slideLayout" Target="../slideLayouts/slideLayout253.xml"/><Relationship Id="rId47" Type="http://schemas.openxmlformats.org/officeDocument/2006/relationships/slideLayout" Target="../slideLayouts/slideLayout258.xml"/><Relationship Id="rId63" Type="http://schemas.openxmlformats.org/officeDocument/2006/relationships/slideLayout" Target="../slideLayouts/slideLayout274.xml"/><Relationship Id="rId68" Type="http://schemas.openxmlformats.org/officeDocument/2006/relationships/slideLayout" Target="../slideLayouts/slideLayout279.xml"/><Relationship Id="rId1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22.xml"/><Relationship Id="rId24" Type="http://schemas.openxmlformats.org/officeDocument/2006/relationships/slideLayout" Target="../slideLayouts/slideLayout235.xml"/><Relationship Id="rId32" Type="http://schemas.openxmlformats.org/officeDocument/2006/relationships/slideLayout" Target="../slideLayouts/slideLayout243.xml"/><Relationship Id="rId37" Type="http://schemas.openxmlformats.org/officeDocument/2006/relationships/slideLayout" Target="../slideLayouts/slideLayout248.xml"/><Relationship Id="rId40" Type="http://schemas.openxmlformats.org/officeDocument/2006/relationships/slideLayout" Target="../slideLayouts/slideLayout251.xml"/><Relationship Id="rId45" Type="http://schemas.openxmlformats.org/officeDocument/2006/relationships/slideLayout" Target="../slideLayouts/slideLayout256.xml"/><Relationship Id="rId53" Type="http://schemas.openxmlformats.org/officeDocument/2006/relationships/slideLayout" Target="../slideLayouts/slideLayout264.xml"/><Relationship Id="rId58" Type="http://schemas.openxmlformats.org/officeDocument/2006/relationships/slideLayout" Target="../slideLayouts/slideLayout269.xml"/><Relationship Id="rId66" Type="http://schemas.openxmlformats.org/officeDocument/2006/relationships/slideLayout" Target="../slideLayouts/slideLayout277.xml"/><Relationship Id="rId74" Type="http://schemas.openxmlformats.org/officeDocument/2006/relationships/tags" Target="../tags/tag247.xml"/><Relationship Id="rId5" Type="http://schemas.openxmlformats.org/officeDocument/2006/relationships/slideLayout" Target="../slideLayouts/slideLayout216.xml"/><Relationship Id="rId61" Type="http://schemas.openxmlformats.org/officeDocument/2006/relationships/slideLayout" Target="../slideLayouts/slideLayout272.xml"/><Relationship Id="rId19" Type="http://schemas.openxmlformats.org/officeDocument/2006/relationships/slideLayout" Target="../slideLayouts/slideLayout230.xml"/><Relationship Id="rId14" Type="http://schemas.openxmlformats.org/officeDocument/2006/relationships/slideLayout" Target="../slideLayouts/slideLayout225.xml"/><Relationship Id="rId22" Type="http://schemas.openxmlformats.org/officeDocument/2006/relationships/slideLayout" Target="../slideLayouts/slideLayout233.xml"/><Relationship Id="rId27" Type="http://schemas.openxmlformats.org/officeDocument/2006/relationships/slideLayout" Target="../slideLayouts/slideLayout238.xml"/><Relationship Id="rId30" Type="http://schemas.openxmlformats.org/officeDocument/2006/relationships/slideLayout" Target="../slideLayouts/slideLayout241.xml"/><Relationship Id="rId35" Type="http://schemas.openxmlformats.org/officeDocument/2006/relationships/slideLayout" Target="../slideLayouts/slideLayout246.xml"/><Relationship Id="rId43" Type="http://schemas.openxmlformats.org/officeDocument/2006/relationships/slideLayout" Target="../slideLayouts/slideLayout254.xml"/><Relationship Id="rId48" Type="http://schemas.openxmlformats.org/officeDocument/2006/relationships/slideLayout" Target="../slideLayouts/slideLayout259.xml"/><Relationship Id="rId56" Type="http://schemas.openxmlformats.org/officeDocument/2006/relationships/slideLayout" Target="../slideLayouts/slideLayout267.xml"/><Relationship Id="rId64" Type="http://schemas.openxmlformats.org/officeDocument/2006/relationships/slideLayout" Target="../slideLayouts/slideLayout275.xml"/><Relationship Id="rId69" Type="http://schemas.openxmlformats.org/officeDocument/2006/relationships/slideLayout" Target="../slideLayouts/slideLayout280.xml"/><Relationship Id="rId77" Type="http://schemas.openxmlformats.org/officeDocument/2006/relationships/image" Target="../media/image17.emf"/><Relationship Id="rId8" Type="http://schemas.openxmlformats.org/officeDocument/2006/relationships/slideLayout" Target="../slideLayouts/slideLayout219.xml"/><Relationship Id="rId51" Type="http://schemas.openxmlformats.org/officeDocument/2006/relationships/slideLayout" Target="../slideLayouts/slideLayout262.xml"/><Relationship Id="rId72" Type="http://schemas.openxmlformats.org/officeDocument/2006/relationships/theme" Target="../theme/theme4.xml"/><Relationship Id="rId3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23.xml"/><Relationship Id="rId17" Type="http://schemas.openxmlformats.org/officeDocument/2006/relationships/slideLayout" Target="../slideLayouts/slideLayout228.xml"/><Relationship Id="rId25" Type="http://schemas.openxmlformats.org/officeDocument/2006/relationships/slideLayout" Target="../slideLayouts/slideLayout236.xml"/><Relationship Id="rId33" Type="http://schemas.openxmlformats.org/officeDocument/2006/relationships/slideLayout" Target="../slideLayouts/slideLayout244.xml"/><Relationship Id="rId38" Type="http://schemas.openxmlformats.org/officeDocument/2006/relationships/slideLayout" Target="../slideLayouts/slideLayout249.xml"/><Relationship Id="rId46" Type="http://schemas.openxmlformats.org/officeDocument/2006/relationships/slideLayout" Target="../slideLayouts/slideLayout257.xml"/><Relationship Id="rId59" Type="http://schemas.openxmlformats.org/officeDocument/2006/relationships/slideLayout" Target="../slideLayouts/slideLayout270.xml"/><Relationship Id="rId67" Type="http://schemas.openxmlformats.org/officeDocument/2006/relationships/slideLayout" Target="../slideLayouts/slideLayout278.xml"/><Relationship Id="rId20" Type="http://schemas.openxmlformats.org/officeDocument/2006/relationships/slideLayout" Target="../slideLayouts/slideLayout231.xml"/><Relationship Id="rId41" Type="http://schemas.openxmlformats.org/officeDocument/2006/relationships/slideLayout" Target="../slideLayouts/slideLayout252.xml"/><Relationship Id="rId54" Type="http://schemas.openxmlformats.org/officeDocument/2006/relationships/slideLayout" Target="../slideLayouts/slideLayout265.xml"/><Relationship Id="rId62" Type="http://schemas.openxmlformats.org/officeDocument/2006/relationships/slideLayout" Target="../slideLayouts/slideLayout273.xml"/><Relationship Id="rId70" Type="http://schemas.openxmlformats.org/officeDocument/2006/relationships/slideLayout" Target="../slideLayouts/slideLayout281.xml"/><Relationship Id="rId75" Type="http://schemas.openxmlformats.org/officeDocument/2006/relationships/tags" Target="../tags/tag248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5" Type="http://schemas.openxmlformats.org/officeDocument/2006/relationships/slideLayout" Target="../slideLayouts/slideLayout226.xml"/><Relationship Id="rId23" Type="http://schemas.openxmlformats.org/officeDocument/2006/relationships/slideLayout" Target="../slideLayouts/slideLayout234.xml"/><Relationship Id="rId28" Type="http://schemas.openxmlformats.org/officeDocument/2006/relationships/slideLayout" Target="../slideLayouts/slideLayout239.xml"/><Relationship Id="rId36" Type="http://schemas.openxmlformats.org/officeDocument/2006/relationships/slideLayout" Target="../slideLayouts/slideLayout247.xml"/><Relationship Id="rId49" Type="http://schemas.openxmlformats.org/officeDocument/2006/relationships/slideLayout" Target="../slideLayouts/slideLayout260.xml"/><Relationship Id="rId57" Type="http://schemas.openxmlformats.org/officeDocument/2006/relationships/slideLayout" Target="../slideLayouts/slideLayout268.xml"/><Relationship Id="rId10" Type="http://schemas.openxmlformats.org/officeDocument/2006/relationships/slideLayout" Target="../slideLayouts/slideLayout221.xml"/><Relationship Id="rId31" Type="http://schemas.openxmlformats.org/officeDocument/2006/relationships/slideLayout" Target="../slideLayouts/slideLayout242.xml"/><Relationship Id="rId44" Type="http://schemas.openxmlformats.org/officeDocument/2006/relationships/slideLayout" Target="../slideLayouts/slideLayout255.xml"/><Relationship Id="rId52" Type="http://schemas.openxmlformats.org/officeDocument/2006/relationships/slideLayout" Target="../slideLayouts/slideLayout263.xml"/><Relationship Id="rId60" Type="http://schemas.openxmlformats.org/officeDocument/2006/relationships/slideLayout" Target="../slideLayouts/slideLayout271.xml"/><Relationship Id="rId65" Type="http://schemas.openxmlformats.org/officeDocument/2006/relationships/slideLayout" Target="../slideLayouts/slideLayout276.xml"/><Relationship Id="rId73" Type="http://schemas.openxmlformats.org/officeDocument/2006/relationships/vmlDrawing" Target="../drawings/vmlDrawing146.v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3" Type="http://schemas.openxmlformats.org/officeDocument/2006/relationships/slideLayout" Target="../slideLayouts/slideLayout224.xml"/><Relationship Id="rId18" Type="http://schemas.openxmlformats.org/officeDocument/2006/relationships/slideLayout" Target="../slideLayouts/slideLayout229.xml"/><Relationship Id="rId39" Type="http://schemas.openxmlformats.org/officeDocument/2006/relationships/slideLayout" Target="../slideLayouts/slideLayout250.xml"/><Relationship Id="rId34" Type="http://schemas.openxmlformats.org/officeDocument/2006/relationships/slideLayout" Target="../slideLayouts/slideLayout245.xml"/><Relationship Id="rId50" Type="http://schemas.openxmlformats.org/officeDocument/2006/relationships/slideLayout" Target="../slideLayouts/slideLayout261.xml"/><Relationship Id="rId55" Type="http://schemas.openxmlformats.org/officeDocument/2006/relationships/slideLayout" Target="../slideLayouts/slideLayout266.xml"/><Relationship Id="rId76" Type="http://schemas.openxmlformats.org/officeDocument/2006/relationships/oleObject" Target="../embeddings/oleObject146.bin"/><Relationship Id="rId7" Type="http://schemas.openxmlformats.org/officeDocument/2006/relationships/slideLayout" Target="../slideLayouts/slideLayout218.xml"/><Relationship Id="rId71" Type="http://schemas.openxmlformats.org/officeDocument/2006/relationships/slideLayout" Target="../slideLayouts/slideLayout282.xml"/><Relationship Id="rId2" Type="http://schemas.openxmlformats.org/officeDocument/2006/relationships/slideLayout" Target="../slideLayouts/slideLayout213.xml"/><Relationship Id="rId29" Type="http://schemas.openxmlformats.org/officeDocument/2006/relationships/slideLayout" Target="../slideLayouts/slideLayout240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08.xml"/><Relationship Id="rId21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324.xml"/><Relationship Id="rId47" Type="http://schemas.openxmlformats.org/officeDocument/2006/relationships/slideLayout" Target="../slideLayouts/slideLayout329.xml"/><Relationship Id="rId63" Type="http://schemas.openxmlformats.org/officeDocument/2006/relationships/slideLayout" Target="../slideLayouts/slideLayout345.xml"/><Relationship Id="rId68" Type="http://schemas.openxmlformats.org/officeDocument/2006/relationships/slideLayout" Target="../slideLayouts/slideLayout350.xml"/><Relationship Id="rId1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293.xml"/><Relationship Id="rId32" Type="http://schemas.openxmlformats.org/officeDocument/2006/relationships/slideLayout" Target="../slideLayouts/slideLayout314.xml"/><Relationship Id="rId37" Type="http://schemas.openxmlformats.org/officeDocument/2006/relationships/slideLayout" Target="../slideLayouts/slideLayout319.xml"/><Relationship Id="rId53" Type="http://schemas.openxmlformats.org/officeDocument/2006/relationships/slideLayout" Target="../slideLayouts/slideLayout335.xml"/><Relationship Id="rId58" Type="http://schemas.openxmlformats.org/officeDocument/2006/relationships/slideLayout" Target="../slideLayouts/slideLayout340.xml"/><Relationship Id="rId74" Type="http://schemas.openxmlformats.org/officeDocument/2006/relationships/slideLayout" Target="../slideLayouts/slideLayout356.xml"/><Relationship Id="rId79" Type="http://schemas.openxmlformats.org/officeDocument/2006/relationships/tags" Target="../tags/tag368.xml"/><Relationship Id="rId5" Type="http://schemas.openxmlformats.org/officeDocument/2006/relationships/slideLayout" Target="../slideLayouts/slideLayout287.xml"/><Relationship Id="rId61" Type="http://schemas.openxmlformats.org/officeDocument/2006/relationships/slideLayout" Target="../slideLayouts/slideLayout343.xml"/><Relationship Id="rId19" Type="http://schemas.openxmlformats.org/officeDocument/2006/relationships/slideLayout" Target="../slideLayouts/slideLayout301.xml"/><Relationship Id="rId14" Type="http://schemas.openxmlformats.org/officeDocument/2006/relationships/slideLayout" Target="../slideLayouts/slideLayout296.xml"/><Relationship Id="rId22" Type="http://schemas.openxmlformats.org/officeDocument/2006/relationships/slideLayout" Target="../slideLayouts/slideLayout304.xml"/><Relationship Id="rId27" Type="http://schemas.openxmlformats.org/officeDocument/2006/relationships/slideLayout" Target="../slideLayouts/slideLayout309.xml"/><Relationship Id="rId30" Type="http://schemas.openxmlformats.org/officeDocument/2006/relationships/slideLayout" Target="../slideLayouts/slideLayout312.xml"/><Relationship Id="rId35" Type="http://schemas.openxmlformats.org/officeDocument/2006/relationships/slideLayout" Target="../slideLayouts/slideLayout317.xml"/><Relationship Id="rId43" Type="http://schemas.openxmlformats.org/officeDocument/2006/relationships/slideLayout" Target="../slideLayouts/slideLayout325.xml"/><Relationship Id="rId48" Type="http://schemas.openxmlformats.org/officeDocument/2006/relationships/slideLayout" Target="../slideLayouts/slideLayout330.xml"/><Relationship Id="rId56" Type="http://schemas.openxmlformats.org/officeDocument/2006/relationships/slideLayout" Target="../slideLayouts/slideLayout338.xml"/><Relationship Id="rId64" Type="http://schemas.openxmlformats.org/officeDocument/2006/relationships/slideLayout" Target="../slideLayouts/slideLayout346.xml"/><Relationship Id="rId69" Type="http://schemas.openxmlformats.org/officeDocument/2006/relationships/slideLayout" Target="../slideLayouts/slideLayout351.xml"/><Relationship Id="rId77" Type="http://schemas.openxmlformats.org/officeDocument/2006/relationships/theme" Target="../theme/theme5.xml"/><Relationship Id="rId8" Type="http://schemas.openxmlformats.org/officeDocument/2006/relationships/slideLayout" Target="../slideLayouts/slideLayout290.xml"/><Relationship Id="rId51" Type="http://schemas.openxmlformats.org/officeDocument/2006/relationships/slideLayout" Target="../slideLayouts/slideLayout333.xml"/><Relationship Id="rId72" Type="http://schemas.openxmlformats.org/officeDocument/2006/relationships/slideLayout" Target="../slideLayouts/slideLayout354.xml"/><Relationship Id="rId80" Type="http://schemas.openxmlformats.org/officeDocument/2006/relationships/oleObject" Target="../embeddings/oleObject218.bin"/><Relationship Id="rId3" Type="http://schemas.openxmlformats.org/officeDocument/2006/relationships/slideLayout" Target="../slideLayouts/slideLayout285.xml"/><Relationship Id="rId12" Type="http://schemas.openxmlformats.org/officeDocument/2006/relationships/slideLayout" Target="../slideLayouts/slideLayout294.xml"/><Relationship Id="rId17" Type="http://schemas.openxmlformats.org/officeDocument/2006/relationships/slideLayout" Target="../slideLayouts/slideLayout299.xml"/><Relationship Id="rId25" Type="http://schemas.openxmlformats.org/officeDocument/2006/relationships/slideLayout" Target="../slideLayouts/slideLayout307.xml"/><Relationship Id="rId33" Type="http://schemas.openxmlformats.org/officeDocument/2006/relationships/slideLayout" Target="../slideLayouts/slideLayout315.xml"/><Relationship Id="rId38" Type="http://schemas.openxmlformats.org/officeDocument/2006/relationships/slideLayout" Target="../slideLayouts/slideLayout320.xml"/><Relationship Id="rId46" Type="http://schemas.openxmlformats.org/officeDocument/2006/relationships/slideLayout" Target="../slideLayouts/slideLayout328.xml"/><Relationship Id="rId59" Type="http://schemas.openxmlformats.org/officeDocument/2006/relationships/slideLayout" Target="../slideLayouts/slideLayout341.xml"/><Relationship Id="rId67" Type="http://schemas.openxmlformats.org/officeDocument/2006/relationships/slideLayout" Target="../slideLayouts/slideLayout349.xml"/><Relationship Id="rId20" Type="http://schemas.openxmlformats.org/officeDocument/2006/relationships/slideLayout" Target="../slideLayouts/slideLayout302.xml"/><Relationship Id="rId41" Type="http://schemas.openxmlformats.org/officeDocument/2006/relationships/slideLayout" Target="../slideLayouts/slideLayout323.xml"/><Relationship Id="rId54" Type="http://schemas.openxmlformats.org/officeDocument/2006/relationships/slideLayout" Target="../slideLayouts/slideLayout336.xml"/><Relationship Id="rId62" Type="http://schemas.openxmlformats.org/officeDocument/2006/relationships/slideLayout" Target="../slideLayouts/slideLayout344.xml"/><Relationship Id="rId70" Type="http://schemas.openxmlformats.org/officeDocument/2006/relationships/slideLayout" Target="../slideLayouts/slideLayout352.xml"/><Relationship Id="rId75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283.xml"/><Relationship Id="rId6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7.xml"/><Relationship Id="rId23" Type="http://schemas.openxmlformats.org/officeDocument/2006/relationships/slideLayout" Target="../slideLayouts/slideLayout305.xml"/><Relationship Id="rId28" Type="http://schemas.openxmlformats.org/officeDocument/2006/relationships/slideLayout" Target="../slideLayouts/slideLayout310.xml"/><Relationship Id="rId36" Type="http://schemas.openxmlformats.org/officeDocument/2006/relationships/slideLayout" Target="../slideLayouts/slideLayout318.xml"/><Relationship Id="rId49" Type="http://schemas.openxmlformats.org/officeDocument/2006/relationships/slideLayout" Target="../slideLayouts/slideLayout331.xml"/><Relationship Id="rId57" Type="http://schemas.openxmlformats.org/officeDocument/2006/relationships/slideLayout" Target="../slideLayouts/slideLayout339.xml"/><Relationship Id="rId10" Type="http://schemas.openxmlformats.org/officeDocument/2006/relationships/slideLayout" Target="../slideLayouts/slideLayout292.xml"/><Relationship Id="rId31" Type="http://schemas.openxmlformats.org/officeDocument/2006/relationships/slideLayout" Target="../slideLayouts/slideLayout313.xml"/><Relationship Id="rId44" Type="http://schemas.openxmlformats.org/officeDocument/2006/relationships/slideLayout" Target="../slideLayouts/slideLayout326.xml"/><Relationship Id="rId52" Type="http://schemas.openxmlformats.org/officeDocument/2006/relationships/slideLayout" Target="../slideLayouts/slideLayout334.xml"/><Relationship Id="rId60" Type="http://schemas.openxmlformats.org/officeDocument/2006/relationships/slideLayout" Target="../slideLayouts/slideLayout342.xml"/><Relationship Id="rId65" Type="http://schemas.openxmlformats.org/officeDocument/2006/relationships/slideLayout" Target="../slideLayouts/slideLayout347.xml"/><Relationship Id="rId73" Type="http://schemas.openxmlformats.org/officeDocument/2006/relationships/slideLayout" Target="../slideLayouts/slideLayout355.xml"/><Relationship Id="rId78" Type="http://schemas.openxmlformats.org/officeDocument/2006/relationships/vmlDrawing" Target="../drawings/vmlDrawing218.vml"/><Relationship Id="rId81" Type="http://schemas.openxmlformats.org/officeDocument/2006/relationships/image" Target="../media/image17.emf"/><Relationship Id="rId4" Type="http://schemas.openxmlformats.org/officeDocument/2006/relationships/slideLayout" Target="../slideLayouts/slideLayout286.xml"/><Relationship Id="rId9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5.xml"/><Relationship Id="rId18" Type="http://schemas.openxmlformats.org/officeDocument/2006/relationships/slideLayout" Target="../slideLayouts/slideLayout300.xml"/><Relationship Id="rId39" Type="http://schemas.openxmlformats.org/officeDocument/2006/relationships/slideLayout" Target="../slideLayouts/slideLayout321.xml"/><Relationship Id="rId34" Type="http://schemas.openxmlformats.org/officeDocument/2006/relationships/slideLayout" Target="../slideLayouts/slideLayout316.xml"/><Relationship Id="rId50" Type="http://schemas.openxmlformats.org/officeDocument/2006/relationships/slideLayout" Target="../slideLayouts/slideLayout332.xml"/><Relationship Id="rId55" Type="http://schemas.openxmlformats.org/officeDocument/2006/relationships/slideLayout" Target="../slideLayouts/slideLayout337.xml"/><Relationship Id="rId76" Type="http://schemas.openxmlformats.org/officeDocument/2006/relationships/slideLayout" Target="../slideLayouts/slideLayout358.xml"/><Relationship Id="rId7" Type="http://schemas.openxmlformats.org/officeDocument/2006/relationships/slideLayout" Target="../slideLayouts/slideLayout289.xml"/><Relationship Id="rId71" Type="http://schemas.openxmlformats.org/officeDocument/2006/relationships/slideLayout" Target="../slideLayouts/slideLayout353.xml"/><Relationship Id="rId2" Type="http://schemas.openxmlformats.org/officeDocument/2006/relationships/slideLayout" Target="../slideLayouts/slideLayout284.xml"/><Relationship Id="rId29" Type="http://schemas.openxmlformats.org/officeDocument/2006/relationships/slideLayout" Target="../slideLayouts/slideLayout311.xml"/><Relationship Id="rId24" Type="http://schemas.openxmlformats.org/officeDocument/2006/relationships/slideLayout" Target="../slideLayouts/slideLayout306.xml"/><Relationship Id="rId40" Type="http://schemas.openxmlformats.org/officeDocument/2006/relationships/slideLayout" Target="../slideLayouts/slideLayout322.xml"/><Relationship Id="rId45" Type="http://schemas.openxmlformats.org/officeDocument/2006/relationships/slideLayout" Target="../slideLayouts/slideLayout327.xml"/><Relationship Id="rId66" Type="http://schemas.openxmlformats.org/officeDocument/2006/relationships/slideLayout" Target="../slideLayouts/slideLayout348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4.xml"/><Relationship Id="rId21" Type="http://schemas.openxmlformats.org/officeDocument/2006/relationships/slideLayout" Target="../slideLayouts/slideLayout379.xml"/><Relationship Id="rId42" Type="http://schemas.openxmlformats.org/officeDocument/2006/relationships/slideLayout" Target="../slideLayouts/slideLayout400.xml"/><Relationship Id="rId47" Type="http://schemas.openxmlformats.org/officeDocument/2006/relationships/slideLayout" Target="../slideLayouts/slideLayout405.xml"/><Relationship Id="rId63" Type="http://schemas.openxmlformats.org/officeDocument/2006/relationships/slideLayout" Target="../slideLayouts/slideLayout421.xml"/><Relationship Id="rId68" Type="http://schemas.openxmlformats.org/officeDocument/2006/relationships/slideLayout" Target="../slideLayouts/slideLayout426.xml"/><Relationship Id="rId16" Type="http://schemas.openxmlformats.org/officeDocument/2006/relationships/slideLayout" Target="../slideLayouts/slideLayout374.xml"/><Relationship Id="rId11" Type="http://schemas.openxmlformats.org/officeDocument/2006/relationships/slideLayout" Target="../slideLayouts/slideLayout369.xml"/><Relationship Id="rId32" Type="http://schemas.openxmlformats.org/officeDocument/2006/relationships/slideLayout" Target="../slideLayouts/slideLayout390.xml"/><Relationship Id="rId37" Type="http://schemas.openxmlformats.org/officeDocument/2006/relationships/slideLayout" Target="../slideLayouts/slideLayout395.xml"/><Relationship Id="rId53" Type="http://schemas.openxmlformats.org/officeDocument/2006/relationships/slideLayout" Target="../slideLayouts/slideLayout411.xml"/><Relationship Id="rId58" Type="http://schemas.openxmlformats.org/officeDocument/2006/relationships/slideLayout" Target="../slideLayouts/slideLayout416.xml"/><Relationship Id="rId74" Type="http://schemas.openxmlformats.org/officeDocument/2006/relationships/slideLayout" Target="../slideLayouts/slideLayout432.xml"/><Relationship Id="rId79" Type="http://schemas.openxmlformats.org/officeDocument/2006/relationships/vmlDrawing" Target="../drawings/vmlDrawing295.vml"/><Relationship Id="rId5" Type="http://schemas.openxmlformats.org/officeDocument/2006/relationships/slideLayout" Target="../slideLayouts/slideLayout363.xml"/><Relationship Id="rId61" Type="http://schemas.openxmlformats.org/officeDocument/2006/relationships/slideLayout" Target="../slideLayouts/slideLayout419.xml"/><Relationship Id="rId82" Type="http://schemas.openxmlformats.org/officeDocument/2006/relationships/oleObject" Target="../embeddings/oleObject295.bin"/><Relationship Id="rId19" Type="http://schemas.openxmlformats.org/officeDocument/2006/relationships/slideLayout" Target="../slideLayouts/slideLayout377.xml"/><Relationship Id="rId14" Type="http://schemas.openxmlformats.org/officeDocument/2006/relationships/slideLayout" Target="../slideLayouts/slideLayout372.xml"/><Relationship Id="rId22" Type="http://schemas.openxmlformats.org/officeDocument/2006/relationships/slideLayout" Target="../slideLayouts/slideLayout380.xml"/><Relationship Id="rId27" Type="http://schemas.openxmlformats.org/officeDocument/2006/relationships/slideLayout" Target="../slideLayouts/slideLayout385.xml"/><Relationship Id="rId30" Type="http://schemas.openxmlformats.org/officeDocument/2006/relationships/slideLayout" Target="../slideLayouts/slideLayout388.xml"/><Relationship Id="rId35" Type="http://schemas.openxmlformats.org/officeDocument/2006/relationships/slideLayout" Target="../slideLayouts/slideLayout393.xml"/><Relationship Id="rId43" Type="http://schemas.openxmlformats.org/officeDocument/2006/relationships/slideLayout" Target="../slideLayouts/slideLayout401.xml"/><Relationship Id="rId48" Type="http://schemas.openxmlformats.org/officeDocument/2006/relationships/slideLayout" Target="../slideLayouts/slideLayout406.xml"/><Relationship Id="rId56" Type="http://schemas.openxmlformats.org/officeDocument/2006/relationships/slideLayout" Target="../slideLayouts/slideLayout414.xml"/><Relationship Id="rId64" Type="http://schemas.openxmlformats.org/officeDocument/2006/relationships/slideLayout" Target="../slideLayouts/slideLayout422.xml"/><Relationship Id="rId69" Type="http://schemas.openxmlformats.org/officeDocument/2006/relationships/slideLayout" Target="../slideLayouts/slideLayout427.xml"/><Relationship Id="rId77" Type="http://schemas.openxmlformats.org/officeDocument/2006/relationships/slideLayout" Target="../slideLayouts/slideLayout435.xml"/><Relationship Id="rId8" Type="http://schemas.openxmlformats.org/officeDocument/2006/relationships/slideLayout" Target="../slideLayouts/slideLayout366.xml"/><Relationship Id="rId51" Type="http://schemas.openxmlformats.org/officeDocument/2006/relationships/slideLayout" Target="../slideLayouts/slideLayout409.xml"/><Relationship Id="rId72" Type="http://schemas.openxmlformats.org/officeDocument/2006/relationships/slideLayout" Target="../slideLayouts/slideLayout430.xml"/><Relationship Id="rId80" Type="http://schemas.openxmlformats.org/officeDocument/2006/relationships/tags" Target="../tags/tag447.xml"/><Relationship Id="rId3" Type="http://schemas.openxmlformats.org/officeDocument/2006/relationships/slideLayout" Target="../slideLayouts/slideLayout361.xml"/><Relationship Id="rId12" Type="http://schemas.openxmlformats.org/officeDocument/2006/relationships/slideLayout" Target="../slideLayouts/slideLayout370.xml"/><Relationship Id="rId17" Type="http://schemas.openxmlformats.org/officeDocument/2006/relationships/slideLayout" Target="../slideLayouts/slideLayout375.xml"/><Relationship Id="rId25" Type="http://schemas.openxmlformats.org/officeDocument/2006/relationships/slideLayout" Target="../slideLayouts/slideLayout383.xml"/><Relationship Id="rId33" Type="http://schemas.openxmlformats.org/officeDocument/2006/relationships/slideLayout" Target="../slideLayouts/slideLayout391.xml"/><Relationship Id="rId38" Type="http://schemas.openxmlformats.org/officeDocument/2006/relationships/slideLayout" Target="../slideLayouts/slideLayout396.xml"/><Relationship Id="rId46" Type="http://schemas.openxmlformats.org/officeDocument/2006/relationships/slideLayout" Target="../slideLayouts/slideLayout404.xml"/><Relationship Id="rId59" Type="http://schemas.openxmlformats.org/officeDocument/2006/relationships/slideLayout" Target="../slideLayouts/slideLayout417.xml"/><Relationship Id="rId67" Type="http://schemas.openxmlformats.org/officeDocument/2006/relationships/slideLayout" Target="../slideLayouts/slideLayout425.xml"/><Relationship Id="rId20" Type="http://schemas.openxmlformats.org/officeDocument/2006/relationships/slideLayout" Target="../slideLayouts/slideLayout378.xml"/><Relationship Id="rId41" Type="http://schemas.openxmlformats.org/officeDocument/2006/relationships/slideLayout" Target="../slideLayouts/slideLayout399.xml"/><Relationship Id="rId54" Type="http://schemas.openxmlformats.org/officeDocument/2006/relationships/slideLayout" Target="../slideLayouts/slideLayout412.xml"/><Relationship Id="rId62" Type="http://schemas.openxmlformats.org/officeDocument/2006/relationships/slideLayout" Target="../slideLayouts/slideLayout420.xml"/><Relationship Id="rId70" Type="http://schemas.openxmlformats.org/officeDocument/2006/relationships/slideLayout" Target="../slideLayouts/slideLayout428.xml"/><Relationship Id="rId75" Type="http://schemas.openxmlformats.org/officeDocument/2006/relationships/slideLayout" Target="../slideLayouts/slideLayout433.xml"/><Relationship Id="rId83" Type="http://schemas.openxmlformats.org/officeDocument/2006/relationships/image" Target="../media/image17.emf"/><Relationship Id="rId1" Type="http://schemas.openxmlformats.org/officeDocument/2006/relationships/slideLayout" Target="../slideLayouts/slideLayout359.xml"/><Relationship Id="rId6" Type="http://schemas.openxmlformats.org/officeDocument/2006/relationships/slideLayout" Target="../slideLayouts/slideLayout364.xml"/><Relationship Id="rId15" Type="http://schemas.openxmlformats.org/officeDocument/2006/relationships/slideLayout" Target="../slideLayouts/slideLayout373.xml"/><Relationship Id="rId23" Type="http://schemas.openxmlformats.org/officeDocument/2006/relationships/slideLayout" Target="../slideLayouts/slideLayout381.xml"/><Relationship Id="rId28" Type="http://schemas.openxmlformats.org/officeDocument/2006/relationships/slideLayout" Target="../slideLayouts/slideLayout386.xml"/><Relationship Id="rId36" Type="http://schemas.openxmlformats.org/officeDocument/2006/relationships/slideLayout" Target="../slideLayouts/slideLayout394.xml"/><Relationship Id="rId49" Type="http://schemas.openxmlformats.org/officeDocument/2006/relationships/slideLayout" Target="../slideLayouts/slideLayout407.xml"/><Relationship Id="rId57" Type="http://schemas.openxmlformats.org/officeDocument/2006/relationships/slideLayout" Target="../slideLayouts/slideLayout415.xml"/><Relationship Id="rId10" Type="http://schemas.openxmlformats.org/officeDocument/2006/relationships/slideLayout" Target="../slideLayouts/slideLayout368.xml"/><Relationship Id="rId31" Type="http://schemas.openxmlformats.org/officeDocument/2006/relationships/slideLayout" Target="../slideLayouts/slideLayout389.xml"/><Relationship Id="rId44" Type="http://schemas.openxmlformats.org/officeDocument/2006/relationships/slideLayout" Target="../slideLayouts/slideLayout402.xml"/><Relationship Id="rId52" Type="http://schemas.openxmlformats.org/officeDocument/2006/relationships/slideLayout" Target="../slideLayouts/slideLayout410.xml"/><Relationship Id="rId60" Type="http://schemas.openxmlformats.org/officeDocument/2006/relationships/slideLayout" Target="../slideLayouts/slideLayout418.xml"/><Relationship Id="rId65" Type="http://schemas.openxmlformats.org/officeDocument/2006/relationships/slideLayout" Target="../slideLayouts/slideLayout423.xml"/><Relationship Id="rId73" Type="http://schemas.openxmlformats.org/officeDocument/2006/relationships/slideLayout" Target="../slideLayouts/slideLayout431.xml"/><Relationship Id="rId78" Type="http://schemas.openxmlformats.org/officeDocument/2006/relationships/theme" Target="../theme/theme6.xml"/><Relationship Id="rId81" Type="http://schemas.openxmlformats.org/officeDocument/2006/relationships/tags" Target="../tags/tag448.xml"/><Relationship Id="rId4" Type="http://schemas.openxmlformats.org/officeDocument/2006/relationships/slideLayout" Target="../slideLayouts/slideLayout362.xml"/><Relationship Id="rId9" Type="http://schemas.openxmlformats.org/officeDocument/2006/relationships/slideLayout" Target="../slideLayouts/slideLayout367.xml"/><Relationship Id="rId13" Type="http://schemas.openxmlformats.org/officeDocument/2006/relationships/slideLayout" Target="../slideLayouts/slideLayout371.xml"/><Relationship Id="rId18" Type="http://schemas.openxmlformats.org/officeDocument/2006/relationships/slideLayout" Target="../slideLayouts/slideLayout376.xml"/><Relationship Id="rId39" Type="http://schemas.openxmlformats.org/officeDocument/2006/relationships/slideLayout" Target="../slideLayouts/slideLayout397.xml"/><Relationship Id="rId34" Type="http://schemas.openxmlformats.org/officeDocument/2006/relationships/slideLayout" Target="../slideLayouts/slideLayout392.xml"/><Relationship Id="rId50" Type="http://schemas.openxmlformats.org/officeDocument/2006/relationships/slideLayout" Target="../slideLayouts/slideLayout408.xml"/><Relationship Id="rId55" Type="http://schemas.openxmlformats.org/officeDocument/2006/relationships/slideLayout" Target="../slideLayouts/slideLayout413.xml"/><Relationship Id="rId76" Type="http://schemas.openxmlformats.org/officeDocument/2006/relationships/slideLayout" Target="../slideLayouts/slideLayout434.xml"/><Relationship Id="rId7" Type="http://schemas.openxmlformats.org/officeDocument/2006/relationships/slideLayout" Target="../slideLayouts/slideLayout365.xml"/><Relationship Id="rId71" Type="http://schemas.openxmlformats.org/officeDocument/2006/relationships/slideLayout" Target="../slideLayouts/slideLayout429.xml"/><Relationship Id="rId2" Type="http://schemas.openxmlformats.org/officeDocument/2006/relationships/slideLayout" Target="../slideLayouts/slideLayout360.xml"/><Relationship Id="rId29" Type="http://schemas.openxmlformats.org/officeDocument/2006/relationships/slideLayout" Target="../slideLayouts/slideLayout387.xml"/><Relationship Id="rId24" Type="http://schemas.openxmlformats.org/officeDocument/2006/relationships/slideLayout" Target="../slideLayouts/slideLayout382.xml"/><Relationship Id="rId40" Type="http://schemas.openxmlformats.org/officeDocument/2006/relationships/slideLayout" Target="../slideLayouts/slideLayout398.xml"/><Relationship Id="rId45" Type="http://schemas.openxmlformats.org/officeDocument/2006/relationships/slideLayout" Target="../slideLayouts/slideLayout403.xml"/><Relationship Id="rId66" Type="http://schemas.openxmlformats.org/officeDocument/2006/relationships/slideLayout" Target="../slideLayouts/slideLayout424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61.xml"/><Relationship Id="rId21" Type="http://schemas.openxmlformats.org/officeDocument/2006/relationships/slideLayout" Target="../slideLayouts/slideLayout456.xml"/><Relationship Id="rId42" Type="http://schemas.openxmlformats.org/officeDocument/2006/relationships/slideLayout" Target="../slideLayouts/slideLayout477.xml"/><Relationship Id="rId47" Type="http://schemas.openxmlformats.org/officeDocument/2006/relationships/slideLayout" Target="../slideLayouts/slideLayout482.xml"/><Relationship Id="rId63" Type="http://schemas.openxmlformats.org/officeDocument/2006/relationships/slideLayout" Target="../slideLayouts/slideLayout498.xml"/><Relationship Id="rId68" Type="http://schemas.openxmlformats.org/officeDocument/2006/relationships/slideLayout" Target="../slideLayouts/slideLayout503.xml"/><Relationship Id="rId84" Type="http://schemas.openxmlformats.org/officeDocument/2006/relationships/image" Target="../media/image17.emf"/><Relationship Id="rId16" Type="http://schemas.openxmlformats.org/officeDocument/2006/relationships/slideLayout" Target="../slideLayouts/slideLayout451.xml"/><Relationship Id="rId11" Type="http://schemas.openxmlformats.org/officeDocument/2006/relationships/slideLayout" Target="../slideLayouts/slideLayout446.xml"/><Relationship Id="rId32" Type="http://schemas.openxmlformats.org/officeDocument/2006/relationships/slideLayout" Target="../slideLayouts/slideLayout467.xml"/><Relationship Id="rId37" Type="http://schemas.openxmlformats.org/officeDocument/2006/relationships/slideLayout" Target="../slideLayouts/slideLayout472.xml"/><Relationship Id="rId53" Type="http://schemas.openxmlformats.org/officeDocument/2006/relationships/slideLayout" Target="../slideLayouts/slideLayout488.xml"/><Relationship Id="rId58" Type="http://schemas.openxmlformats.org/officeDocument/2006/relationships/slideLayout" Target="../slideLayouts/slideLayout493.xml"/><Relationship Id="rId74" Type="http://schemas.openxmlformats.org/officeDocument/2006/relationships/slideLayout" Target="../slideLayouts/slideLayout509.xml"/><Relationship Id="rId79" Type="http://schemas.openxmlformats.org/officeDocument/2006/relationships/theme" Target="../theme/theme7.xml"/><Relationship Id="rId5" Type="http://schemas.openxmlformats.org/officeDocument/2006/relationships/slideLayout" Target="../slideLayouts/slideLayout440.xml"/><Relationship Id="rId61" Type="http://schemas.openxmlformats.org/officeDocument/2006/relationships/slideLayout" Target="../slideLayouts/slideLayout496.xml"/><Relationship Id="rId82" Type="http://schemas.openxmlformats.org/officeDocument/2006/relationships/tags" Target="../tags/tag570.xml"/><Relationship Id="rId19" Type="http://schemas.openxmlformats.org/officeDocument/2006/relationships/slideLayout" Target="../slideLayouts/slideLayout454.xml"/><Relationship Id="rId14" Type="http://schemas.openxmlformats.org/officeDocument/2006/relationships/slideLayout" Target="../slideLayouts/slideLayout449.xml"/><Relationship Id="rId22" Type="http://schemas.openxmlformats.org/officeDocument/2006/relationships/slideLayout" Target="../slideLayouts/slideLayout457.xml"/><Relationship Id="rId27" Type="http://schemas.openxmlformats.org/officeDocument/2006/relationships/slideLayout" Target="../slideLayouts/slideLayout462.xml"/><Relationship Id="rId30" Type="http://schemas.openxmlformats.org/officeDocument/2006/relationships/slideLayout" Target="../slideLayouts/slideLayout465.xml"/><Relationship Id="rId35" Type="http://schemas.openxmlformats.org/officeDocument/2006/relationships/slideLayout" Target="../slideLayouts/slideLayout470.xml"/><Relationship Id="rId43" Type="http://schemas.openxmlformats.org/officeDocument/2006/relationships/slideLayout" Target="../slideLayouts/slideLayout478.xml"/><Relationship Id="rId48" Type="http://schemas.openxmlformats.org/officeDocument/2006/relationships/slideLayout" Target="../slideLayouts/slideLayout483.xml"/><Relationship Id="rId56" Type="http://schemas.openxmlformats.org/officeDocument/2006/relationships/slideLayout" Target="../slideLayouts/slideLayout491.xml"/><Relationship Id="rId64" Type="http://schemas.openxmlformats.org/officeDocument/2006/relationships/slideLayout" Target="../slideLayouts/slideLayout499.xml"/><Relationship Id="rId69" Type="http://schemas.openxmlformats.org/officeDocument/2006/relationships/slideLayout" Target="../slideLayouts/slideLayout504.xml"/><Relationship Id="rId77" Type="http://schemas.openxmlformats.org/officeDocument/2006/relationships/slideLayout" Target="../slideLayouts/slideLayout512.xml"/><Relationship Id="rId8" Type="http://schemas.openxmlformats.org/officeDocument/2006/relationships/slideLayout" Target="../slideLayouts/slideLayout443.xml"/><Relationship Id="rId51" Type="http://schemas.openxmlformats.org/officeDocument/2006/relationships/slideLayout" Target="../slideLayouts/slideLayout486.xml"/><Relationship Id="rId72" Type="http://schemas.openxmlformats.org/officeDocument/2006/relationships/slideLayout" Target="../slideLayouts/slideLayout507.xml"/><Relationship Id="rId80" Type="http://schemas.openxmlformats.org/officeDocument/2006/relationships/vmlDrawing" Target="../drawings/vmlDrawing367.vml"/><Relationship Id="rId3" Type="http://schemas.openxmlformats.org/officeDocument/2006/relationships/slideLayout" Target="../slideLayouts/slideLayout438.xml"/><Relationship Id="rId12" Type="http://schemas.openxmlformats.org/officeDocument/2006/relationships/slideLayout" Target="../slideLayouts/slideLayout447.xml"/><Relationship Id="rId17" Type="http://schemas.openxmlformats.org/officeDocument/2006/relationships/slideLayout" Target="../slideLayouts/slideLayout452.xml"/><Relationship Id="rId25" Type="http://schemas.openxmlformats.org/officeDocument/2006/relationships/slideLayout" Target="../slideLayouts/slideLayout460.xml"/><Relationship Id="rId33" Type="http://schemas.openxmlformats.org/officeDocument/2006/relationships/slideLayout" Target="../slideLayouts/slideLayout468.xml"/><Relationship Id="rId38" Type="http://schemas.openxmlformats.org/officeDocument/2006/relationships/slideLayout" Target="../slideLayouts/slideLayout473.xml"/><Relationship Id="rId46" Type="http://schemas.openxmlformats.org/officeDocument/2006/relationships/slideLayout" Target="../slideLayouts/slideLayout481.xml"/><Relationship Id="rId59" Type="http://schemas.openxmlformats.org/officeDocument/2006/relationships/slideLayout" Target="../slideLayouts/slideLayout494.xml"/><Relationship Id="rId67" Type="http://schemas.openxmlformats.org/officeDocument/2006/relationships/slideLayout" Target="../slideLayouts/slideLayout502.xml"/><Relationship Id="rId20" Type="http://schemas.openxmlformats.org/officeDocument/2006/relationships/slideLayout" Target="../slideLayouts/slideLayout455.xml"/><Relationship Id="rId41" Type="http://schemas.openxmlformats.org/officeDocument/2006/relationships/slideLayout" Target="../slideLayouts/slideLayout476.xml"/><Relationship Id="rId54" Type="http://schemas.openxmlformats.org/officeDocument/2006/relationships/slideLayout" Target="../slideLayouts/slideLayout489.xml"/><Relationship Id="rId62" Type="http://schemas.openxmlformats.org/officeDocument/2006/relationships/slideLayout" Target="../slideLayouts/slideLayout497.xml"/><Relationship Id="rId70" Type="http://schemas.openxmlformats.org/officeDocument/2006/relationships/slideLayout" Target="../slideLayouts/slideLayout505.xml"/><Relationship Id="rId75" Type="http://schemas.openxmlformats.org/officeDocument/2006/relationships/slideLayout" Target="../slideLayouts/slideLayout510.xml"/><Relationship Id="rId83" Type="http://schemas.openxmlformats.org/officeDocument/2006/relationships/oleObject" Target="../embeddings/oleObject367.bin"/><Relationship Id="rId1" Type="http://schemas.openxmlformats.org/officeDocument/2006/relationships/slideLayout" Target="../slideLayouts/slideLayout436.xml"/><Relationship Id="rId6" Type="http://schemas.openxmlformats.org/officeDocument/2006/relationships/slideLayout" Target="../slideLayouts/slideLayout441.xml"/><Relationship Id="rId15" Type="http://schemas.openxmlformats.org/officeDocument/2006/relationships/slideLayout" Target="../slideLayouts/slideLayout450.xml"/><Relationship Id="rId23" Type="http://schemas.openxmlformats.org/officeDocument/2006/relationships/slideLayout" Target="../slideLayouts/slideLayout458.xml"/><Relationship Id="rId28" Type="http://schemas.openxmlformats.org/officeDocument/2006/relationships/slideLayout" Target="../slideLayouts/slideLayout463.xml"/><Relationship Id="rId36" Type="http://schemas.openxmlformats.org/officeDocument/2006/relationships/slideLayout" Target="../slideLayouts/slideLayout471.xml"/><Relationship Id="rId49" Type="http://schemas.openxmlformats.org/officeDocument/2006/relationships/slideLayout" Target="../slideLayouts/slideLayout484.xml"/><Relationship Id="rId57" Type="http://schemas.openxmlformats.org/officeDocument/2006/relationships/slideLayout" Target="../slideLayouts/slideLayout492.xml"/><Relationship Id="rId10" Type="http://schemas.openxmlformats.org/officeDocument/2006/relationships/slideLayout" Target="../slideLayouts/slideLayout445.xml"/><Relationship Id="rId31" Type="http://schemas.openxmlformats.org/officeDocument/2006/relationships/slideLayout" Target="../slideLayouts/slideLayout466.xml"/><Relationship Id="rId44" Type="http://schemas.openxmlformats.org/officeDocument/2006/relationships/slideLayout" Target="../slideLayouts/slideLayout479.xml"/><Relationship Id="rId52" Type="http://schemas.openxmlformats.org/officeDocument/2006/relationships/slideLayout" Target="../slideLayouts/slideLayout487.xml"/><Relationship Id="rId60" Type="http://schemas.openxmlformats.org/officeDocument/2006/relationships/slideLayout" Target="../slideLayouts/slideLayout495.xml"/><Relationship Id="rId65" Type="http://schemas.openxmlformats.org/officeDocument/2006/relationships/slideLayout" Target="../slideLayouts/slideLayout500.xml"/><Relationship Id="rId73" Type="http://schemas.openxmlformats.org/officeDocument/2006/relationships/slideLayout" Target="../slideLayouts/slideLayout508.xml"/><Relationship Id="rId78" Type="http://schemas.openxmlformats.org/officeDocument/2006/relationships/slideLayout" Target="../slideLayouts/slideLayout513.xml"/><Relationship Id="rId81" Type="http://schemas.openxmlformats.org/officeDocument/2006/relationships/tags" Target="../tags/tag569.xml"/><Relationship Id="rId4" Type="http://schemas.openxmlformats.org/officeDocument/2006/relationships/slideLayout" Target="../slideLayouts/slideLayout439.xml"/><Relationship Id="rId9" Type="http://schemas.openxmlformats.org/officeDocument/2006/relationships/slideLayout" Target="../slideLayouts/slideLayout444.xml"/><Relationship Id="rId13" Type="http://schemas.openxmlformats.org/officeDocument/2006/relationships/slideLayout" Target="../slideLayouts/slideLayout448.xml"/><Relationship Id="rId18" Type="http://schemas.openxmlformats.org/officeDocument/2006/relationships/slideLayout" Target="../slideLayouts/slideLayout453.xml"/><Relationship Id="rId39" Type="http://schemas.openxmlformats.org/officeDocument/2006/relationships/slideLayout" Target="../slideLayouts/slideLayout474.xml"/><Relationship Id="rId34" Type="http://schemas.openxmlformats.org/officeDocument/2006/relationships/slideLayout" Target="../slideLayouts/slideLayout469.xml"/><Relationship Id="rId50" Type="http://schemas.openxmlformats.org/officeDocument/2006/relationships/slideLayout" Target="../slideLayouts/slideLayout485.xml"/><Relationship Id="rId55" Type="http://schemas.openxmlformats.org/officeDocument/2006/relationships/slideLayout" Target="../slideLayouts/slideLayout490.xml"/><Relationship Id="rId76" Type="http://schemas.openxmlformats.org/officeDocument/2006/relationships/slideLayout" Target="../slideLayouts/slideLayout511.xml"/><Relationship Id="rId7" Type="http://schemas.openxmlformats.org/officeDocument/2006/relationships/slideLayout" Target="../slideLayouts/slideLayout442.xml"/><Relationship Id="rId71" Type="http://schemas.openxmlformats.org/officeDocument/2006/relationships/slideLayout" Target="../slideLayouts/slideLayout506.xml"/><Relationship Id="rId2" Type="http://schemas.openxmlformats.org/officeDocument/2006/relationships/slideLayout" Target="../slideLayouts/slideLayout437.xml"/><Relationship Id="rId29" Type="http://schemas.openxmlformats.org/officeDocument/2006/relationships/slideLayout" Target="../slideLayouts/slideLayout464.xml"/><Relationship Id="rId24" Type="http://schemas.openxmlformats.org/officeDocument/2006/relationships/slideLayout" Target="../slideLayouts/slideLayout459.xml"/><Relationship Id="rId40" Type="http://schemas.openxmlformats.org/officeDocument/2006/relationships/slideLayout" Target="../slideLayouts/slideLayout475.xml"/><Relationship Id="rId45" Type="http://schemas.openxmlformats.org/officeDocument/2006/relationships/slideLayout" Target="../slideLayouts/slideLayout480.xml"/><Relationship Id="rId66" Type="http://schemas.openxmlformats.org/officeDocument/2006/relationships/slideLayout" Target="../slideLayouts/slideLayout50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1.xml"/><Relationship Id="rId13" Type="http://schemas.openxmlformats.org/officeDocument/2006/relationships/slideLayout" Target="../slideLayouts/slideLayout526.xml"/><Relationship Id="rId18" Type="http://schemas.openxmlformats.org/officeDocument/2006/relationships/tags" Target="../tags/tag691.xml"/><Relationship Id="rId3" Type="http://schemas.openxmlformats.org/officeDocument/2006/relationships/slideLayout" Target="../slideLayouts/slideLayout516.xml"/><Relationship Id="rId21" Type="http://schemas.openxmlformats.org/officeDocument/2006/relationships/image" Target="../media/image27.emf"/><Relationship Id="rId7" Type="http://schemas.openxmlformats.org/officeDocument/2006/relationships/slideLayout" Target="../slideLayouts/slideLayout520.xml"/><Relationship Id="rId12" Type="http://schemas.openxmlformats.org/officeDocument/2006/relationships/slideLayout" Target="../slideLayouts/slideLayout525.xml"/><Relationship Id="rId17" Type="http://schemas.openxmlformats.org/officeDocument/2006/relationships/vmlDrawing" Target="../drawings/vmlDrawing439.vml"/><Relationship Id="rId2" Type="http://schemas.openxmlformats.org/officeDocument/2006/relationships/slideLayout" Target="../slideLayouts/slideLayout515.xml"/><Relationship Id="rId16" Type="http://schemas.openxmlformats.org/officeDocument/2006/relationships/theme" Target="../theme/theme8.xml"/><Relationship Id="rId20" Type="http://schemas.openxmlformats.org/officeDocument/2006/relationships/oleObject" Target="../embeddings/oleObject439.bin"/><Relationship Id="rId1" Type="http://schemas.openxmlformats.org/officeDocument/2006/relationships/slideLayout" Target="../slideLayouts/slideLayout514.xml"/><Relationship Id="rId6" Type="http://schemas.openxmlformats.org/officeDocument/2006/relationships/slideLayout" Target="../slideLayouts/slideLayout519.xml"/><Relationship Id="rId11" Type="http://schemas.openxmlformats.org/officeDocument/2006/relationships/slideLayout" Target="../slideLayouts/slideLayout524.xml"/><Relationship Id="rId5" Type="http://schemas.openxmlformats.org/officeDocument/2006/relationships/slideLayout" Target="../slideLayouts/slideLayout518.xml"/><Relationship Id="rId15" Type="http://schemas.openxmlformats.org/officeDocument/2006/relationships/slideLayout" Target="../slideLayouts/slideLayout528.xml"/><Relationship Id="rId10" Type="http://schemas.openxmlformats.org/officeDocument/2006/relationships/slideLayout" Target="../slideLayouts/slideLayout523.xml"/><Relationship Id="rId19" Type="http://schemas.openxmlformats.org/officeDocument/2006/relationships/tags" Target="../tags/tag692.xml"/><Relationship Id="rId4" Type="http://schemas.openxmlformats.org/officeDocument/2006/relationships/slideLayout" Target="../slideLayouts/slideLayout517.xml"/><Relationship Id="rId9" Type="http://schemas.openxmlformats.org/officeDocument/2006/relationships/slideLayout" Target="../slideLayouts/slideLayout522.xml"/><Relationship Id="rId14" Type="http://schemas.openxmlformats.org/officeDocument/2006/relationships/slideLayout" Target="../slideLayouts/slideLayout5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1743"/>
            <a:ext cx="10623259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836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7" r:id="rId2"/>
    <p:sldLayoutId id="2147483708" r:id="rId3"/>
    <p:sldLayoutId id="2147483738" r:id="rId4"/>
    <p:sldLayoutId id="2147483667" r:id="rId5"/>
    <p:sldLayoutId id="2147483675" r:id="rId6"/>
    <p:sldLayoutId id="2147483671" r:id="rId7"/>
    <p:sldLayoutId id="2147483705" r:id="rId8"/>
    <p:sldLayoutId id="2147483659" r:id="rId9"/>
    <p:sldLayoutId id="2147483651" r:id="rId10"/>
    <p:sldLayoutId id="2147483702" r:id="rId11"/>
    <p:sldLayoutId id="2147483706" r:id="rId12"/>
    <p:sldLayoutId id="2147483703" r:id="rId13"/>
    <p:sldLayoutId id="2147483674" r:id="rId14"/>
    <p:sldLayoutId id="2147483788" r:id="rId15"/>
    <p:sldLayoutId id="2147483789" r:id="rId16"/>
    <p:sldLayoutId id="2147483792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  <p:sldLayoutId id="2147483775" r:id="rId35"/>
    <p:sldLayoutId id="2147483776" r:id="rId36"/>
    <p:sldLayoutId id="2147483778" r:id="rId37"/>
    <p:sldLayoutId id="2147483779" r:id="rId38"/>
    <p:sldLayoutId id="2147483783" r:id="rId39"/>
    <p:sldLayoutId id="2147483784" r:id="rId40"/>
    <p:sldLayoutId id="2147484035" r:id="rId41"/>
    <p:sldLayoutId id="2147484036" r:id="rId42"/>
    <p:sldLayoutId id="2147484037" r:id="rId43"/>
    <p:sldLayoutId id="2147484038" r:id="rId44"/>
    <p:sldLayoutId id="2147484039" r:id="rId45"/>
    <p:sldLayoutId id="2147484040" r:id="rId46"/>
    <p:sldLayoutId id="2147484041" r:id="rId47"/>
    <p:sldLayoutId id="2147484042" r:id="rId48"/>
    <p:sldLayoutId id="2147484043" r:id="rId49"/>
    <p:sldLayoutId id="2147484044" r:id="rId50"/>
    <p:sldLayoutId id="2147484045" r:id="rId51"/>
    <p:sldLayoutId id="2147484046" r:id="rId52"/>
    <p:sldLayoutId id="2147484047" r:id="rId53"/>
    <p:sldLayoutId id="2147484048" r:id="rId54"/>
    <p:sldLayoutId id="2147484049" r:id="rId55"/>
    <p:sldLayoutId id="2147484050" r:id="rId5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000" kern="1200" dirty="0">
          <a:solidFill>
            <a:schemeClr val="accent1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49" name="think-cell Slide" r:id="rId83" imgW="270" imgH="270" progId="TCLayout.ActiveDocument.1">
                  <p:embed/>
                </p:oleObj>
              </mc:Choice>
              <mc:Fallback>
                <p:oleObj name="think-cell Slide" r:id="rId8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8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20425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  <a:sym typeface="+mn-lt"/>
              </a:rPr>
              <a:pPr algn="r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238915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  <p:sldLayoutId id="2147483818" r:id="rId17"/>
    <p:sldLayoutId id="2147483819" r:id="rId18"/>
    <p:sldLayoutId id="2147483820" r:id="rId19"/>
    <p:sldLayoutId id="2147483821" r:id="rId20"/>
    <p:sldLayoutId id="2147483822" r:id="rId21"/>
    <p:sldLayoutId id="2147483823" r:id="rId22"/>
    <p:sldLayoutId id="2147483824" r:id="rId23"/>
    <p:sldLayoutId id="2147483825" r:id="rId24"/>
    <p:sldLayoutId id="2147483826" r:id="rId25"/>
    <p:sldLayoutId id="2147483827" r:id="rId26"/>
    <p:sldLayoutId id="2147483828" r:id="rId27"/>
    <p:sldLayoutId id="2147483829" r:id="rId28"/>
    <p:sldLayoutId id="2147483830" r:id="rId29"/>
    <p:sldLayoutId id="2147483831" r:id="rId30"/>
    <p:sldLayoutId id="2147483832" r:id="rId31"/>
    <p:sldLayoutId id="2147483833" r:id="rId32"/>
    <p:sldLayoutId id="2147483834" r:id="rId33"/>
    <p:sldLayoutId id="2147483835" r:id="rId34"/>
    <p:sldLayoutId id="2147483836" r:id="rId35"/>
    <p:sldLayoutId id="2147483837" r:id="rId36"/>
    <p:sldLayoutId id="2147483838" r:id="rId37"/>
    <p:sldLayoutId id="2147483839" r:id="rId38"/>
    <p:sldLayoutId id="2147483840" r:id="rId39"/>
    <p:sldLayoutId id="2147483841" r:id="rId40"/>
    <p:sldLayoutId id="2147483842" r:id="rId41"/>
    <p:sldLayoutId id="2147483843" r:id="rId42"/>
    <p:sldLayoutId id="2147483844" r:id="rId43"/>
    <p:sldLayoutId id="2147483845" r:id="rId44"/>
    <p:sldLayoutId id="2147483846" r:id="rId45"/>
    <p:sldLayoutId id="2147483847" r:id="rId46"/>
    <p:sldLayoutId id="2147483848" r:id="rId47"/>
    <p:sldLayoutId id="2147483849" r:id="rId48"/>
    <p:sldLayoutId id="2147483850" r:id="rId49"/>
    <p:sldLayoutId id="2147483851" r:id="rId50"/>
    <p:sldLayoutId id="2147483852" r:id="rId51"/>
    <p:sldLayoutId id="2147483853" r:id="rId52"/>
    <p:sldLayoutId id="2147483854" r:id="rId53"/>
    <p:sldLayoutId id="2147483855" r:id="rId54"/>
    <p:sldLayoutId id="2147483856" r:id="rId55"/>
    <p:sldLayoutId id="2147483857" r:id="rId56"/>
    <p:sldLayoutId id="2147483858" r:id="rId57"/>
    <p:sldLayoutId id="2147483859" r:id="rId58"/>
    <p:sldLayoutId id="2147483860" r:id="rId59"/>
    <p:sldLayoutId id="2147483861" r:id="rId60"/>
    <p:sldLayoutId id="2147483862" r:id="rId61"/>
    <p:sldLayoutId id="2147483863" r:id="rId62"/>
    <p:sldLayoutId id="2147483864" r:id="rId63"/>
    <p:sldLayoutId id="2147483865" r:id="rId64"/>
    <p:sldLayoutId id="2147483866" r:id="rId65"/>
    <p:sldLayoutId id="2147483867" r:id="rId66"/>
    <p:sldLayoutId id="2147483868" r:id="rId67"/>
    <p:sldLayoutId id="2147483869" r:id="rId68"/>
    <p:sldLayoutId id="2147483870" r:id="rId69"/>
    <p:sldLayoutId id="2147483871" r:id="rId70"/>
    <p:sldLayoutId id="2147483872" r:id="rId71"/>
    <p:sldLayoutId id="2147483873" r:id="rId72"/>
    <p:sldLayoutId id="2147483874" r:id="rId73"/>
    <p:sldLayoutId id="2147483875" r:id="rId74"/>
    <p:sldLayoutId id="2147483876" r:id="rId75"/>
    <p:sldLayoutId id="2147483877" r:id="rId76"/>
    <p:sldLayoutId id="2147483878" r:id="rId77"/>
    <p:sldLayoutId id="2147483960" r:id="rId7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50" name="think-cell Slide" r:id="rId82" imgW="270" imgH="270" progId="TCLayout.ActiveDocument.1">
                  <p:embed/>
                </p:oleObj>
              </mc:Choice>
              <mc:Fallback>
                <p:oleObj name="think-cell Slide" r:id="rId8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8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F98DFB4-B767-4B7D-923E-EB3A0EE47DE8}"/>
              </a:ext>
            </a:extLst>
          </p:cNvPr>
          <p:cNvPicPr>
            <a:picLocks noChangeAspect="1"/>
          </p:cNvPicPr>
          <p:nvPr userDrawn="1"/>
        </p:nvPicPr>
        <p:blipFill>
          <a:blip r:embed="rId8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806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94" r:id="rId13"/>
    <p:sldLayoutId id="2147483895" r:id="rId14"/>
    <p:sldLayoutId id="2147483896" r:id="rId15"/>
    <p:sldLayoutId id="2147483897" r:id="rId16"/>
    <p:sldLayoutId id="2147483898" r:id="rId17"/>
    <p:sldLayoutId id="2147483899" r:id="rId18"/>
    <p:sldLayoutId id="2147483900" r:id="rId19"/>
    <p:sldLayoutId id="2147483901" r:id="rId20"/>
    <p:sldLayoutId id="2147483902" r:id="rId21"/>
    <p:sldLayoutId id="2147483903" r:id="rId22"/>
    <p:sldLayoutId id="2147483904" r:id="rId23"/>
    <p:sldLayoutId id="2147483905" r:id="rId24"/>
    <p:sldLayoutId id="2147483906" r:id="rId25"/>
    <p:sldLayoutId id="2147483907" r:id="rId26"/>
    <p:sldLayoutId id="2147483908" r:id="rId27"/>
    <p:sldLayoutId id="2147483909" r:id="rId28"/>
    <p:sldLayoutId id="2147483910" r:id="rId29"/>
    <p:sldLayoutId id="2147483911" r:id="rId30"/>
    <p:sldLayoutId id="2147483912" r:id="rId31"/>
    <p:sldLayoutId id="2147483913" r:id="rId32"/>
    <p:sldLayoutId id="2147483914" r:id="rId33"/>
    <p:sldLayoutId id="2147483915" r:id="rId34"/>
    <p:sldLayoutId id="2147483916" r:id="rId35"/>
    <p:sldLayoutId id="2147483917" r:id="rId36"/>
    <p:sldLayoutId id="2147483918" r:id="rId37"/>
    <p:sldLayoutId id="2147483919" r:id="rId38"/>
    <p:sldLayoutId id="2147483920" r:id="rId39"/>
    <p:sldLayoutId id="2147483921" r:id="rId40"/>
    <p:sldLayoutId id="2147483922" r:id="rId41"/>
    <p:sldLayoutId id="2147483923" r:id="rId42"/>
    <p:sldLayoutId id="2147483924" r:id="rId43"/>
    <p:sldLayoutId id="2147483925" r:id="rId44"/>
    <p:sldLayoutId id="2147483926" r:id="rId45"/>
    <p:sldLayoutId id="2147483927" r:id="rId46"/>
    <p:sldLayoutId id="2147483928" r:id="rId47"/>
    <p:sldLayoutId id="2147483929" r:id="rId48"/>
    <p:sldLayoutId id="2147483930" r:id="rId49"/>
    <p:sldLayoutId id="2147483931" r:id="rId50"/>
    <p:sldLayoutId id="2147483932" r:id="rId51"/>
    <p:sldLayoutId id="2147483933" r:id="rId52"/>
    <p:sldLayoutId id="2147483934" r:id="rId53"/>
    <p:sldLayoutId id="2147483935" r:id="rId54"/>
    <p:sldLayoutId id="2147483936" r:id="rId55"/>
    <p:sldLayoutId id="2147483937" r:id="rId56"/>
    <p:sldLayoutId id="2147483938" r:id="rId57"/>
    <p:sldLayoutId id="2147483939" r:id="rId58"/>
    <p:sldLayoutId id="2147483940" r:id="rId59"/>
    <p:sldLayoutId id="2147483941" r:id="rId60"/>
    <p:sldLayoutId id="2147483942" r:id="rId61"/>
    <p:sldLayoutId id="2147483943" r:id="rId62"/>
    <p:sldLayoutId id="2147483944" r:id="rId63"/>
    <p:sldLayoutId id="2147483945" r:id="rId64"/>
    <p:sldLayoutId id="2147483946" r:id="rId65"/>
    <p:sldLayoutId id="2147483947" r:id="rId66"/>
    <p:sldLayoutId id="2147483948" r:id="rId67"/>
    <p:sldLayoutId id="2147483949" r:id="rId68"/>
    <p:sldLayoutId id="2147483950" r:id="rId69"/>
    <p:sldLayoutId id="2147483951" r:id="rId70"/>
    <p:sldLayoutId id="2147483952" r:id="rId71"/>
    <p:sldLayoutId id="2147483953" r:id="rId72"/>
    <p:sldLayoutId id="2147483955" r:id="rId73"/>
    <p:sldLayoutId id="2147483956" r:id="rId74"/>
    <p:sldLayoutId id="2147483957" r:id="rId75"/>
    <p:sldLayoutId id="2147483958" r:id="rId76"/>
    <p:sldLayoutId id="2147483959" r:id="rId7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47"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912425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  <p:sldLayoutId id="2147483983" r:id="rId22"/>
    <p:sldLayoutId id="2147483984" r:id="rId23"/>
    <p:sldLayoutId id="2147483985" r:id="rId24"/>
    <p:sldLayoutId id="2147483986" r:id="rId25"/>
    <p:sldLayoutId id="2147483987" r:id="rId26"/>
    <p:sldLayoutId id="2147483988" r:id="rId27"/>
    <p:sldLayoutId id="2147483989" r:id="rId28"/>
    <p:sldLayoutId id="2147483990" r:id="rId29"/>
    <p:sldLayoutId id="2147483991" r:id="rId30"/>
    <p:sldLayoutId id="2147483992" r:id="rId31"/>
    <p:sldLayoutId id="2147483993" r:id="rId32"/>
    <p:sldLayoutId id="2147483994" r:id="rId33"/>
    <p:sldLayoutId id="2147483995" r:id="rId34"/>
    <p:sldLayoutId id="2147483996" r:id="rId35"/>
    <p:sldLayoutId id="2147483997" r:id="rId36"/>
    <p:sldLayoutId id="2147483998" r:id="rId37"/>
    <p:sldLayoutId id="2147483999" r:id="rId38"/>
    <p:sldLayoutId id="2147484000" r:id="rId39"/>
    <p:sldLayoutId id="2147484001" r:id="rId40"/>
    <p:sldLayoutId id="2147484002" r:id="rId41"/>
    <p:sldLayoutId id="2147484003" r:id="rId42"/>
    <p:sldLayoutId id="2147484004" r:id="rId43"/>
    <p:sldLayoutId id="2147484005" r:id="rId44"/>
    <p:sldLayoutId id="2147484006" r:id="rId45"/>
    <p:sldLayoutId id="2147484007" r:id="rId46"/>
    <p:sldLayoutId id="2147484008" r:id="rId47"/>
    <p:sldLayoutId id="2147484009" r:id="rId48"/>
    <p:sldLayoutId id="2147484010" r:id="rId49"/>
    <p:sldLayoutId id="2147484011" r:id="rId50"/>
    <p:sldLayoutId id="2147484012" r:id="rId51"/>
    <p:sldLayoutId id="2147484013" r:id="rId52"/>
    <p:sldLayoutId id="2147484014" r:id="rId53"/>
    <p:sldLayoutId id="2147484015" r:id="rId54"/>
    <p:sldLayoutId id="2147484016" r:id="rId55"/>
    <p:sldLayoutId id="2147484017" r:id="rId56"/>
    <p:sldLayoutId id="2147484018" r:id="rId57"/>
    <p:sldLayoutId id="2147484019" r:id="rId58"/>
    <p:sldLayoutId id="2147484020" r:id="rId59"/>
    <p:sldLayoutId id="2147484021" r:id="rId60"/>
    <p:sldLayoutId id="2147484022" r:id="rId61"/>
    <p:sldLayoutId id="2147484023" r:id="rId62"/>
    <p:sldLayoutId id="2147484024" r:id="rId63"/>
    <p:sldLayoutId id="2147484025" r:id="rId64"/>
    <p:sldLayoutId id="2147484026" r:id="rId65"/>
    <p:sldLayoutId id="2147484027" r:id="rId66"/>
    <p:sldLayoutId id="2147484028" r:id="rId67"/>
    <p:sldLayoutId id="2147484029" r:id="rId68"/>
    <p:sldLayoutId id="2147484030" r:id="rId69"/>
    <p:sldLayoutId id="2147484031" r:id="rId70"/>
    <p:sldLayoutId id="2147484033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15" name="think-cell Slide" r:id="rId80" imgW="270" imgH="270" progId="TCLayout.ActiveDocument.1">
                  <p:embed/>
                </p:oleObj>
              </mc:Choice>
              <mc:Fallback>
                <p:oleObj name="think-cell Slide" r:id="rId8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20425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961837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0" r:id="rId9"/>
    <p:sldLayoutId id="2147484091" r:id="rId10"/>
    <p:sldLayoutId id="2147484092" r:id="rId11"/>
    <p:sldLayoutId id="2147484093" r:id="rId12"/>
    <p:sldLayoutId id="2147484094" r:id="rId13"/>
    <p:sldLayoutId id="2147484095" r:id="rId14"/>
    <p:sldLayoutId id="2147484096" r:id="rId15"/>
    <p:sldLayoutId id="2147484097" r:id="rId16"/>
    <p:sldLayoutId id="2147484098" r:id="rId17"/>
    <p:sldLayoutId id="2147484099" r:id="rId18"/>
    <p:sldLayoutId id="2147484100" r:id="rId19"/>
    <p:sldLayoutId id="2147484101" r:id="rId20"/>
    <p:sldLayoutId id="2147484102" r:id="rId21"/>
    <p:sldLayoutId id="2147484103" r:id="rId22"/>
    <p:sldLayoutId id="2147484104" r:id="rId23"/>
    <p:sldLayoutId id="2147484105" r:id="rId24"/>
    <p:sldLayoutId id="2147484106" r:id="rId25"/>
    <p:sldLayoutId id="2147484107" r:id="rId26"/>
    <p:sldLayoutId id="2147484108" r:id="rId27"/>
    <p:sldLayoutId id="2147484109" r:id="rId28"/>
    <p:sldLayoutId id="2147484110" r:id="rId29"/>
    <p:sldLayoutId id="2147484111" r:id="rId30"/>
    <p:sldLayoutId id="2147484112" r:id="rId31"/>
    <p:sldLayoutId id="2147484113" r:id="rId32"/>
    <p:sldLayoutId id="2147484114" r:id="rId33"/>
    <p:sldLayoutId id="2147484115" r:id="rId34"/>
    <p:sldLayoutId id="2147484116" r:id="rId35"/>
    <p:sldLayoutId id="2147484117" r:id="rId36"/>
    <p:sldLayoutId id="2147484118" r:id="rId37"/>
    <p:sldLayoutId id="2147484119" r:id="rId38"/>
    <p:sldLayoutId id="2147484120" r:id="rId39"/>
    <p:sldLayoutId id="2147484121" r:id="rId40"/>
    <p:sldLayoutId id="2147484122" r:id="rId41"/>
    <p:sldLayoutId id="2147484123" r:id="rId42"/>
    <p:sldLayoutId id="2147484124" r:id="rId43"/>
    <p:sldLayoutId id="2147484125" r:id="rId44"/>
    <p:sldLayoutId id="2147484126" r:id="rId45"/>
    <p:sldLayoutId id="2147484127" r:id="rId46"/>
    <p:sldLayoutId id="2147484128" r:id="rId47"/>
    <p:sldLayoutId id="2147484129" r:id="rId48"/>
    <p:sldLayoutId id="2147484130" r:id="rId49"/>
    <p:sldLayoutId id="2147484131" r:id="rId50"/>
    <p:sldLayoutId id="2147484132" r:id="rId51"/>
    <p:sldLayoutId id="2147484133" r:id="rId52"/>
    <p:sldLayoutId id="2147484134" r:id="rId53"/>
    <p:sldLayoutId id="2147484135" r:id="rId54"/>
    <p:sldLayoutId id="2147484136" r:id="rId55"/>
    <p:sldLayoutId id="2147484137" r:id="rId56"/>
    <p:sldLayoutId id="2147484138" r:id="rId57"/>
    <p:sldLayoutId id="2147484139" r:id="rId58"/>
    <p:sldLayoutId id="2147484140" r:id="rId59"/>
    <p:sldLayoutId id="2147484141" r:id="rId60"/>
    <p:sldLayoutId id="2147484142" r:id="rId61"/>
    <p:sldLayoutId id="2147484143" r:id="rId62"/>
    <p:sldLayoutId id="2147484144" r:id="rId63"/>
    <p:sldLayoutId id="2147484145" r:id="rId64"/>
    <p:sldLayoutId id="2147484146" r:id="rId65"/>
    <p:sldLayoutId id="2147484147" r:id="rId66"/>
    <p:sldLayoutId id="2147484148" r:id="rId67"/>
    <p:sldLayoutId id="2147484149" r:id="rId68"/>
    <p:sldLayoutId id="2147484150" r:id="rId69"/>
    <p:sldLayoutId id="2147484151" r:id="rId70"/>
    <p:sldLayoutId id="2147484152" r:id="rId71"/>
    <p:sldLayoutId id="2147484153" r:id="rId72"/>
    <p:sldLayoutId id="2147484154" r:id="rId73"/>
    <p:sldLayoutId id="2147484155" r:id="rId74"/>
    <p:sldLayoutId id="2147484156" r:id="rId75"/>
    <p:sldLayoutId id="2147484157" r:id="rId7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69" name="think-cell Slide" r:id="rId82" imgW="270" imgH="270" progId="TCLayout.ActiveDocument.1">
                  <p:embed/>
                </p:oleObj>
              </mc:Choice>
              <mc:Fallback>
                <p:oleObj name="think-cell Slide" r:id="rId8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8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20425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  <a:sym typeface="+mn-lt"/>
              </a:rPr>
              <a:pPr algn="r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810204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3" r:id="rId11"/>
    <p:sldLayoutId id="2147484224" r:id="rId12"/>
    <p:sldLayoutId id="2147484225" r:id="rId13"/>
    <p:sldLayoutId id="2147484226" r:id="rId14"/>
    <p:sldLayoutId id="2147484227" r:id="rId15"/>
    <p:sldLayoutId id="2147484228" r:id="rId16"/>
    <p:sldLayoutId id="2147484229" r:id="rId17"/>
    <p:sldLayoutId id="2147484230" r:id="rId18"/>
    <p:sldLayoutId id="2147484231" r:id="rId19"/>
    <p:sldLayoutId id="2147484232" r:id="rId20"/>
    <p:sldLayoutId id="2147484233" r:id="rId21"/>
    <p:sldLayoutId id="2147484234" r:id="rId22"/>
    <p:sldLayoutId id="2147484235" r:id="rId23"/>
    <p:sldLayoutId id="2147484236" r:id="rId24"/>
    <p:sldLayoutId id="2147484237" r:id="rId25"/>
    <p:sldLayoutId id="2147484238" r:id="rId26"/>
    <p:sldLayoutId id="2147484239" r:id="rId27"/>
    <p:sldLayoutId id="2147484240" r:id="rId28"/>
    <p:sldLayoutId id="2147484241" r:id="rId29"/>
    <p:sldLayoutId id="2147484242" r:id="rId30"/>
    <p:sldLayoutId id="2147484243" r:id="rId31"/>
    <p:sldLayoutId id="2147484244" r:id="rId32"/>
    <p:sldLayoutId id="2147484245" r:id="rId33"/>
    <p:sldLayoutId id="2147484246" r:id="rId34"/>
    <p:sldLayoutId id="2147484247" r:id="rId35"/>
    <p:sldLayoutId id="2147484248" r:id="rId36"/>
    <p:sldLayoutId id="2147484249" r:id="rId37"/>
    <p:sldLayoutId id="2147484250" r:id="rId38"/>
    <p:sldLayoutId id="2147484251" r:id="rId39"/>
    <p:sldLayoutId id="2147484252" r:id="rId40"/>
    <p:sldLayoutId id="2147484253" r:id="rId41"/>
    <p:sldLayoutId id="2147484254" r:id="rId42"/>
    <p:sldLayoutId id="2147484255" r:id="rId43"/>
    <p:sldLayoutId id="2147484256" r:id="rId44"/>
    <p:sldLayoutId id="2147484257" r:id="rId45"/>
    <p:sldLayoutId id="2147484258" r:id="rId46"/>
    <p:sldLayoutId id="2147484259" r:id="rId47"/>
    <p:sldLayoutId id="2147484260" r:id="rId48"/>
    <p:sldLayoutId id="2147484261" r:id="rId49"/>
    <p:sldLayoutId id="2147484262" r:id="rId50"/>
    <p:sldLayoutId id="2147484263" r:id="rId51"/>
    <p:sldLayoutId id="2147484264" r:id="rId52"/>
    <p:sldLayoutId id="2147484265" r:id="rId53"/>
    <p:sldLayoutId id="2147484266" r:id="rId54"/>
    <p:sldLayoutId id="2147484267" r:id="rId55"/>
    <p:sldLayoutId id="2147484268" r:id="rId56"/>
    <p:sldLayoutId id="2147484269" r:id="rId57"/>
    <p:sldLayoutId id="2147484270" r:id="rId58"/>
    <p:sldLayoutId id="2147484271" r:id="rId59"/>
    <p:sldLayoutId id="2147484272" r:id="rId60"/>
    <p:sldLayoutId id="2147484273" r:id="rId61"/>
    <p:sldLayoutId id="2147484274" r:id="rId62"/>
    <p:sldLayoutId id="2147484275" r:id="rId63"/>
    <p:sldLayoutId id="2147484276" r:id="rId64"/>
    <p:sldLayoutId id="2147484277" r:id="rId65"/>
    <p:sldLayoutId id="2147484278" r:id="rId66"/>
    <p:sldLayoutId id="2147484279" r:id="rId67"/>
    <p:sldLayoutId id="2147484280" r:id="rId68"/>
    <p:sldLayoutId id="2147484281" r:id="rId69"/>
    <p:sldLayoutId id="2147484282" r:id="rId70"/>
    <p:sldLayoutId id="2147484283" r:id="rId71"/>
    <p:sldLayoutId id="2147484284" r:id="rId72"/>
    <p:sldLayoutId id="2147484285" r:id="rId73"/>
    <p:sldLayoutId id="2147484287" r:id="rId74"/>
    <p:sldLayoutId id="2147484288" r:id="rId75"/>
    <p:sldLayoutId id="2147484289" r:id="rId76"/>
    <p:sldLayoutId id="2147484290" r:id="rId7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997" name="think-cell Slide" r:id="rId83" imgW="270" imgH="270" progId="TCLayout.ActiveDocument.1">
                  <p:embed/>
                </p:oleObj>
              </mc:Choice>
              <mc:Fallback>
                <p:oleObj name="think-cell Slide" r:id="rId8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8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20425"/>
            <a:ext cx="38100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900" smtClean="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  <a:sym typeface="+mn-lt"/>
              </a:rPr>
              <a:pPr algn="r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510266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2" r:id="rId1"/>
    <p:sldLayoutId id="2147484293" r:id="rId2"/>
    <p:sldLayoutId id="2147484294" r:id="rId3"/>
    <p:sldLayoutId id="2147484295" r:id="rId4"/>
    <p:sldLayoutId id="2147484296" r:id="rId5"/>
    <p:sldLayoutId id="2147484297" r:id="rId6"/>
    <p:sldLayoutId id="2147484298" r:id="rId7"/>
    <p:sldLayoutId id="2147484299" r:id="rId8"/>
    <p:sldLayoutId id="2147484300" r:id="rId9"/>
    <p:sldLayoutId id="2147484301" r:id="rId10"/>
    <p:sldLayoutId id="2147484302" r:id="rId11"/>
    <p:sldLayoutId id="2147484303" r:id="rId12"/>
    <p:sldLayoutId id="2147484304" r:id="rId13"/>
    <p:sldLayoutId id="2147484305" r:id="rId14"/>
    <p:sldLayoutId id="2147484306" r:id="rId15"/>
    <p:sldLayoutId id="2147484307" r:id="rId16"/>
    <p:sldLayoutId id="2147484308" r:id="rId17"/>
    <p:sldLayoutId id="2147484309" r:id="rId18"/>
    <p:sldLayoutId id="2147484310" r:id="rId19"/>
    <p:sldLayoutId id="2147484311" r:id="rId20"/>
    <p:sldLayoutId id="2147484312" r:id="rId21"/>
    <p:sldLayoutId id="2147484313" r:id="rId22"/>
    <p:sldLayoutId id="2147484314" r:id="rId23"/>
    <p:sldLayoutId id="2147484315" r:id="rId24"/>
    <p:sldLayoutId id="2147484316" r:id="rId25"/>
    <p:sldLayoutId id="2147484317" r:id="rId26"/>
    <p:sldLayoutId id="2147484318" r:id="rId27"/>
    <p:sldLayoutId id="2147484319" r:id="rId28"/>
    <p:sldLayoutId id="2147484320" r:id="rId29"/>
    <p:sldLayoutId id="2147484321" r:id="rId30"/>
    <p:sldLayoutId id="2147484322" r:id="rId31"/>
    <p:sldLayoutId id="2147484323" r:id="rId32"/>
    <p:sldLayoutId id="2147484324" r:id="rId33"/>
    <p:sldLayoutId id="2147484325" r:id="rId34"/>
    <p:sldLayoutId id="2147484326" r:id="rId35"/>
    <p:sldLayoutId id="2147484327" r:id="rId36"/>
    <p:sldLayoutId id="2147484328" r:id="rId37"/>
    <p:sldLayoutId id="2147484329" r:id="rId38"/>
    <p:sldLayoutId id="2147484330" r:id="rId39"/>
    <p:sldLayoutId id="2147484331" r:id="rId40"/>
    <p:sldLayoutId id="2147484332" r:id="rId41"/>
    <p:sldLayoutId id="2147484333" r:id="rId42"/>
    <p:sldLayoutId id="2147484334" r:id="rId43"/>
    <p:sldLayoutId id="2147484335" r:id="rId44"/>
    <p:sldLayoutId id="2147484336" r:id="rId45"/>
    <p:sldLayoutId id="2147484337" r:id="rId46"/>
    <p:sldLayoutId id="2147484338" r:id="rId47"/>
    <p:sldLayoutId id="2147484339" r:id="rId48"/>
    <p:sldLayoutId id="2147484340" r:id="rId49"/>
    <p:sldLayoutId id="2147484341" r:id="rId50"/>
    <p:sldLayoutId id="2147484342" r:id="rId51"/>
    <p:sldLayoutId id="2147484343" r:id="rId52"/>
    <p:sldLayoutId id="2147484344" r:id="rId53"/>
    <p:sldLayoutId id="2147484345" r:id="rId54"/>
    <p:sldLayoutId id="2147484346" r:id="rId55"/>
    <p:sldLayoutId id="2147484347" r:id="rId56"/>
    <p:sldLayoutId id="2147484348" r:id="rId57"/>
    <p:sldLayoutId id="2147484349" r:id="rId58"/>
    <p:sldLayoutId id="2147484350" r:id="rId59"/>
    <p:sldLayoutId id="2147484351" r:id="rId60"/>
    <p:sldLayoutId id="2147484352" r:id="rId61"/>
    <p:sldLayoutId id="2147484353" r:id="rId62"/>
    <p:sldLayoutId id="2147484354" r:id="rId63"/>
    <p:sldLayoutId id="2147484355" r:id="rId64"/>
    <p:sldLayoutId id="2147484356" r:id="rId65"/>
    <p:sldLayoutId id="2147484357" r:id="rId66"/>
    <p:sldLayoutId id="2147484358" r:id="rId67"/>
    <p:sldLayoutId id="2147484359" r:id="rId68"/>
    <p:sldLayoutId id="2147484360" r:id="rId69"/>
    <p:sldLayoutId id="2147484361" r:id="rId70"/>
    <p:sldLayoutId id="2147484362" r:id="rId71"/>
    <p:sldLayoutId id="2147484363" r:id="rId72"/>
    <p:sldLayoutId id="2147484364" r:id="rId73"/>
    <p:sldLayoutId id="2147484365" r:id="rId74"/>
    <p:sldLayoutId id="2147484366" r:id="rId75"/>
    <p:sldLayoutId id="2147484367" r:id="rId76"/>
    <p:sldLayoutId id="2147484368" r:id="rId77"/>
    <p:sldLayoutId id="2147484369" r:id="rId7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19C857-BB4C-4B86-AD36-37546F9C11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32"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19C857-BB4C-4B86-AD36-37546F9C1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3CC38F-0C88-4E59-8BFC-5090C2B69055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solidFill>
                <a:prstClr val="white"/>
              </a:solidFill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1743"/>
            <a:ext cx="10623259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042"/>
                </a:solidFill>
                <a:latin typeface="Calibri" panose="020F0502020204030204"/>
              </a:rPr>
              <a:t>© IGT Solutions Pvt. Ltd. | Confidential: Not for Distribution | www.igtsolutions.com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2F3D5A7-E7A9-4A02-B0FC-4F987CA7C555}" type="slidenum">
              <a:rPr lang="en-US" sz="1000" smtClean="0">
                <a:solidFill>
                  <a:srgbClr val="414042"/>
                </a:solidFill>
                <a:latin typeface="Calibri" panose="020F0502020204030204"/>
              </a:rPr>
              <a:pPr>
                <a:defRPr/>
              </a:pPr>
              <a:t>‹#›</a:t>
            </a:fld>
            <a:endParaRPr lang="en-US" sz="1000" dirty="0">
              <a:solidFill>
                <a:srgbClr val="414042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62947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2" r:id="rId1"/>
    <p:sldLayoutId id="2147484373" r:id="rId2"/>
    <p:sldLayoutId id="2147484374" r:id="rId3"/>
    <p:sldLayoutId id="2147484375" r:id="rId4"/>
    <p:sldLayoutId id="2147484376" r:id="rId5"/>
    <p:sldLayoutId id="2147484377" r:id="rId6"/>
    <p:sldLayoutId id="2147484378" r:id="rId7"/>
    <p:sldLayoutId id="2147484379" r:id="rId8"/>
    <p:sldLayoutId id="2147484380" r:id="rId9"/>
    <p:sldLayoutId id="2147484381" r:id="rId10"/>
    <p:sldLayoutId id="2147484382" r:id="rId11"/>
    <p:sldLayoutId id="2147484383" r:id="rId12"/>
    <p:sldLayoutId id="2147484384" r:id="rId13"/>
    <p:sldLayoutId id="2147484385" r:id="rId14"/>
    <p:sldLayoutId id="2147484386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000" kern="1200" dirty="0">
          <a:solidFill>
            <a:schemeClr val="accent1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49.png"/><Relationship Id="rId3" Type="http://schemas.openxmlformats.org/officeDocument/2006/relationships/image" Target="../media/image147.png"/><Relationship Id="rId25" Type="http://schemas.openxmlformats.org/officeDocument/2006/relationships/image" Target="../media/image148.png"/><Relationship Id="rId2" Type="http://schemas.openxmlformats.org/officeDocument/2006/relationships/image" Target="../media/image146.jpg"/><Relationship Id="rId29" Type="http://schemas.openxmlformats.org/officeDocument/2006/relationships/image" Target="../media/image152.png"/><Relationship Id="rId1" Type="http://schemas.openxmlformats.org/officeDocument/2006/relationships/slideLayout" Target="../slideLayouts/slideLayout7.xml"/><Relationship Id="rId24" Type="http://schemas.openxmlformats.org/officeDocument/2006/relationships/image" Target="NULL"/><Relationship Id="rId28" Type="http://schemas.openxmlformats.org/officeDocument/2006/relationships/image" Target="../media/image151.png"/><Relationship Id="rId27" Type="http://schemas.openxmlformats.org/officeDocument/2006/relationships/image" Target="../media/image15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3" Type="http://schemas.openxmlformats.org/officeDocument/2006/relationships/image" Target="../media/image154.png"/><Relationship Id="rId7" Type="http://schemas.openxmlformats.org/officeDocument/2006/relationships/image" Target="../media/image152.png"/><Relationship Id="rId12" Type="http://schemas.openxmlformats.org/officeDocument/2006/relationships/image" Target="../media/image162.pn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7.png"/><Relationship Id="rId11" Type="http://schemas.openxmlformats.org/officeDocument/2006/relationships/image" Target="../media/image161.jpg"/><Relationship Id="rId5" Type="http://schemas.openxmlformats.org/officeDocument/2006/relationships/image" Target="../media/image156.png"/><Relationship Id="rId10" Type="http://schemas.openxmlformats.org/officeDocument/2006/relationships/image" Target="../media/image160.png"/><Relationship Id="rId4" Type="http://schemas.openxmlformats.org/officeDocument/2006/relationships/image" Target="../media/image155.png"/><Relationship Id="rId9" Type="http://schemas.openxmlformats.org/officeDocument/2006/relationships/image" Target="../media/image15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5.png"/><Relationship Id="rId13" Type="http://schemas.openxmlformats.org/officeDocument/2006/relationships/image" Target="../media/image170.png"/><Relationship Id="rId18" Type="http://schemas.openxmlformats.org/officeDocument/2006/relationships/image" Target="../media/image141.png"/><Relationship Id="rId3" Type="http://schemas.openxmlformats.org/officeDocument/2006/relationships/image" Target="../media/image153.png"/><Relationship Id="rId7" Type="http://schemas.openxmlformats.org/officeDocument/2006/relationships/image" Target="../media/image164.png"/><Relationship Id="rId12" Type="http://schemas.openxmlformats.org/officeDocument/2006/relationships/image" Target="../media/image169.png"/><Relationship Id="rId17" Type="http://schemas.openxmlformats.org/officeDocument/2006/relationships/image" Target="../media/image152.png"/><Relationship Id="rId2" Type="http://schemas.openxmlformats.org/officeDocument/2006/relationships/image" Target="../media/image163.jpg"/><Relationship Id="rId16" Type="http://schemas.openxmlformats.org/officeDocument/2006/relationships/image" Target="../media/image17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6.png"/><Relationship Id="rId11" Type="http://schemas.openxmlformats.org/officeDocument/2006/relationships/image" Target="../media/image168.png"/><Relationship Id="rId5" Type="http://schemas.openxmlformats.org/officeDocument/2006/relationships/image" Target="../media/image155.png"/><Relationship Id="rId15" Type="http://schemas.openxmlformats.org/officeDocument/2006/relationships/image" Target="../media/image172.png"/><Relationship Id="rId10" Type="http://schemas.openxmlformats.org/officeDocument/2006/relationships/image" Target="../media/image167.png"/><Relationship Id="rId4" Type="http://schemas.openxmlformats.org/officeDocument/2006/relationships/image" Target="../media/image154.png"/><Relationship Id="rId9" Type="http://schemas.openxmlformats.org/officeDocument/2006/relationships/image" Target="../media/image166.png"/><Relationship Id="rId14" Type="http://schemas.openxmlformats.org/officeDocument/2006/relationships/image" Target="../media/image17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7.png"/><Relationship Id="rId4" Type="http://schemas.openxmlformats.org/officeDocument/2006/relationships/image" Target="../media/image17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2.png"/><Relationship Id="rId5" Type="http://schemas.openxmlformats.org/officeDocument/2006/relationships/image" Target="../media/image181.png"/><Relationship Id="rId4" Type="http://schemas.openxmlformats.org/officeDocument/2006/relationships/image" Target="../media/image180.jpe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5.png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186.jpg"/><Relationship Id="rId1" Type="http://schemas.openxmlformats.org/officeDocument/2006/relationships/slideLayout" Target="../slideLayouts/slideLayout520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0.png"/><Relationship Id="rId3" Type="http://schemas.openxmlformats.org/officeDocument/2006/relationships/image" Target="../media/image187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9.png"/><Relationship Id="rId11" Type="http://schemas.openxmlformats.org/officeDocument/2006/relationships/image" Target="../media/image192.jpeg"/><Relationship Id="rId5" Type="http://schemas.openxmlformats.org/officeDocument/2006/relationships/image" Target="../media/image188.png"/><Relationship Id="rId10" Type="http://schemas.openxmlformats.org/officeDocument/2006/relationships/image" Target="../media/image54.png"/><Relationship Id="rId4" Type="http://schemas.openxmlformats.org/officeDocument/2006/relationships/image" Target="../media/image114.jpeg"/><Relationship Id="rId9" Type="http://schemas.openxmlformats.org/officeDocument/2006/relationships/image" Target="../media/image19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jpe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11" Type="http://schemas.openxmlformats.org/officeDocument/2006/relationships/image" Target="../media/image38.jpe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7.png"/><Relationship Id="rId21" Type="http://schemas.openxmlformats.org/officeDocument/2006/relationships/image" Target="../media/image52.png"/><Relationship Id="rId42" Type="http://schemas.openxmlformats.org/officeDocument/2006/relationships/image" Target="../media/image73.png"/><Relationship Id="rId47" Type="http://schemas.openxmlformats.org/officeDocument/2006/relationships/image" Target="../media/image78.png"/><Relationship Id="rId63" Type="http://schemas.openxmlformats.org/officeDocument/2006/relationships/image" Target="../media/image94.jpeg"/><Relationship Id="rId68" Type="http://schemas.openxmlformats.org/officeDocument/2006/relationships/image" Target="../media/image99.png"/><Relationship Id="rId84" Type="http://schemas.openxmlformats.org/officeDocument/2006/relationships/image" Target="../media/image115.jpeg"/><Relationship Id="rId89" Type="http://schemas.openxmlformats.org/officeDocument/2006/relationships/image" Target="../media/image120.png"/><Relationship Id="rId16" Type="http://schemas.openxmlformats.org/officeDocument/2006/relationships/image" Target="../media/image47.jpeg"/><Relationship Id="rId11" Type="http://schemas.openxmlformats.org/officeDocument/2006/relationships/image" Target="../media/image43.jpeg"/><Relationship Id="rId32" Type="http://schemas.openxmlformats.org/officeDocument/2006/relationships/image" Target="../media/image63.jpeg"/><Relationship Id="rId37" Type="http://schemas.openxmlformats.org/officeDocument/2006/relationships/image" Target="../media/image68.jpeg"/><Relationship Id="rId53" Type="http://schemas.openxmlformats.org/officeDocument/2006/relationships/image" Target="../media/image84.jpeg"/><Relationship Id="rId58" Type="http://schemas.openxmlformats.org/officeDocument/2006/relationships/image" Target="../media/image89.png"/><Relationship Id="rId74" Type="http://schemas.openxmlformats.org/officeDocument/2006/relationships/image" Target="../media/image105.jpeg"/><Relationship Id="rId79" Type="http://schemas.openxmlformats.org/officeDocument/2006/relationships/image" Target="../media/image110.jpeg"/><Relationship Id="rId5" Type="http://schemas.openxmlformats.org/officeDocument/2006/relationships/notesSlide" Target="../notesSlides/notesSlide2.xml"/><Relationship Id="rId14" Type="http://schemas.openxmlformats.org/officeDocument/2006/relationships/image" Target="../media/image46.png"/><Relationship Id="rId22" Type="http://schemas.openxmlformats.org/officeDocument/2006/relationships/image" Target="../media/image53.png"/><Relationship Id="rId27" Type="http://schemas.openxmlformats.org/officeDocument/2006/relationships/image" Target="../media/image58.png"/><Relationship Id="rId30" Type="http://schemas.openxmlformats.org/officeDocument/2006/relationships/image" Target="../media/image61.jpeg"/><Relationship Id="rId35" Type="http://schemas.openxmlformats.org/officeDocument/2006/relationships/image" Target="../media/image66.jpeg"/><Relationship Id="rId43" Type="http://schemas.openxmlformats.org/officeDocument/2006/relationships/image" Target="../media/image74.png"/><Relationship Id="rId48" Type="http://schemas.openxmlformats.org/officeDocument/2006/relationships/image" Target="../media/image79.png"/><Relationship Id="rId56" Type="http://schemas.openxmlformats.org/officeDocument/2006/relationships/image" Target="../media/image87.jpeg"/><Relationship Id="rId64" Type="http://schemas.openxmlformats.org/officeDocument/2006/relationships/image" Target="../media/image95.png"/><Relationship Id="rId69" Type="http://schemas.openxmlformats.org/officeDocument/2006/relationships/image" Target="../media/image100.jpeg"/><Relationship Id="rId77" Type="http://schemas.openxmlformats.org/officeDocument/2006/relationships/image" Target="../media/image108.jpeg"/><Relationship Id="rId8" Type="http://schemas.openxmlformats.org/officeDocument/2006/relationships/oleObject" Target="../embeddings/oleObject441.bin"/><Relationship Id="rId51" Type="http://schemas.openxmlformats.org/officeDocument/2006/relationships/image" Target="../media/image82.jpeg"/><Relationship Id="rId72" Type="http://schemas.openxmlformats.org/officeDocument/2006/relationships/image" Target="../media/image103.png"/><Relationship Id="rId80" Type="http://schemas.openxmlformats.org/officeDocument/2006/relationships/image" Target="../media/image111.gif"/><Relationship Id="rId85" Type="http://schemas.openxmlformats.org/officeDocument/2006/relationships/image" Target="../media/image116.jpeg"/><Relationship Id="rId3" Type="http://schemas.openxmlformats.org/officeDocument/2006/relationships/tags" Target="../tags/tag694.xml"/><Relationship Id="rId12" Type="http://schemas.openxmlformats.org/officeDocument/2006/relationships/image" Target="../media/image44.jpeg"/><Relationship Id="rId17" Type="http://schemas.openxmlformats.org/officeDocument/2006/relationships/image" Target="../media/image48.jpeg"/><Relationship Id="rId25" Type="http://schemas.openxmlformats.org/officeDocument/2006/relationships/image" Target="../media/image56.jpeg"/><Relationship Id="rId33" Type="http://schemas.openxmlformats.org/officeDocument/2006/relationships/image" Target="../media/image64.png"/><Relationship Id="rId38" Type="http://schemas.openxmlformats.org/officeDocument/2006/relationships/image" Target="../media/image69.jpeg"/><Relationship Id="rId46" Type="http://schemas.openxmlformats.org/officeDocument/2006/relationships/image" Target="../media/image77.png"/><Relationship Id="rId59" Type="http://schemas.openxmlformats.org/officeDocument/2006/relationships/image" Target="../media/image90.jpeg"/><Relationship Id="rId67" Type="http://schemas.openxmlformats.org/officeDocument/2006/relationships/image" Target="../media/image98.jpeg"/><Relationship Id="rId20" Type="http://schemas.openxmlformats.org/officeDocument/2006/relationships/image" Target="../media/image51.jpeg"/><Relationship Id="rId41" Type="http://schemas.openxmlformats.org/officeDocument/2006/relationships/image" Target="../media/image72.jpeg"/><Relationship Id="rId54" Type="http://schemas.openxmlformats.org/officeDocument/2006/relationships/image" Target="../media/image85.png"/><Relationship Id="rId62" Type="http://schemas.openxmlformats.org/officeDocument/2006/relationships/image" Target="../media/image93.gif"/><Relationship Id="rId70" Type="http://schemas.openxmlformats.org/officeDocument/2006/relationships/image" Target="../media/image101.png"/><Relationship Id="rId75" Type="http://schemas.openxmlformats.org/officeDocument/2006/relationships/image" Target="../media/image106.png"/><Relationship Id="rId83" Type="http://schemas.openxmlformats.org/officeDocument/2006/relationships/image" Target="../media/image114.jpeg"/><Relationship Id="rId88" Type="http://schemas.openxmlformats.org/officeDocument/2006/relationships/image" Target="../media/image119.png"/><Relationship Id="rId1" Type="http://schemas.openxmlformats.org/officeDocument/2006/relationships/vmlDrawing" Target="../drawings/vmlDrawing440.vml"/><Relationship Id="rId6" Type="http://schemas.openxmlformats.org/officeDocument/2006/relationships/oleObject" Target="../embeddings/oleObject440.bin"/><Relationship Id="rId15" Type="http://schemas.openxmlformats.org/officeDocument/2006/relationships/image" Target="http://upload.wikimedia.org/wikipedia/en/2/24/Viking_Cruises_transparent_logo.png" TargetMode="External"/><Relationship Id="rId23" Type="http://schemas.openxmlformats.org/officeDocument/2006/relationships/image" Target="../media/image54.png"/><Relationship Id="rId28" Type="http://schemas.openxmlformats.org/officeDocument/2006/relationships/image" Target="../media/image59.jpeg"/><Relationship Id="rId36" Type="http://schemas.openxmlformats.org/officeDocument/2006/relationships/image" Target="../media/image67.jpeg"/><Relationship Id="rId49" Type="http://schemas.openxmlformats.org/officeDocument/2006/relationships/image" Target="../media/image80.png"/><Relationship Id="rId57" Type="http://schemas.openxmlformats.org/officeDocument/2006/relationships/image" Target="../media/image88.jpeg"/><Relationship Id="rId10" Type="http://schemas.openxmlformats.org/officeDocument/2006/relationships/image" Target="../media/image42.jpeg"/><Relationship Id="rId31" Type="http://schemas.openxmlformats.org/officeDocument/2006/relationships/image" Target="../media/image62.jpeg"/><Relationship Id="rId44" Type="http://schemas.openxmlformats.org/officeDocument/2006/relationships/image" Target="../media/image75.png"/><Relationship Id="rId52" Type="http://schemas.openxmlformats.org/officeDocument/2006/relationships/image" Target="../media/image83.png"/><Relationship Id="rId60" Type="http://schemas.openxmlformats.org/officeDocument/2006/relationships/image" Target="../media/image91.jpeg"/><Relationship Id="rId65" Type="http://schemas.openxmlformats.org/officeDocument/2006/relationships/image" Target="../media/image96.jpeg"/><Relationship Id="rId73" Type="http://schemas.openxmlformats.org/officeDocument/2006/relationships/image" Target="../media/image104.jpeg"/><Relationship Id="rId78" Type="http://schemas.openxmlformats.org/officeDocument/2006/relationships/image" Target="../media/image109.png"/><Relationship Id="rId81" Type="http://schemas.openxmlformats.org/officeDocument/2006/relationships/image" Target="../media/image112.png"/><Relationship Id="rId86" Type="http://schemas.openxmlformats.org/officeDocument/2006/relationships/image" Target="../media/image117.png"/><Relationship Id="rId4" Type="http://schemas.openxmlformats.org/officeDocument/2006/relationships/slideLayout" Target="../slideLayouts/slideLayout130.xml"/><Relationship Id="rId9" Type="http://schemas.openxmlformats.org/officeDocument/2006/relationships/image" Target="../media/image41.emf"/><Relationship Id="rId13" Type="http://schemas.openxmlformats.org/officeDocument/2006/relationships/image" Target="../media/image45.png"/><Relationship Id="rId18" Type="http://schemas.openxmlformats.org/officeDocument/2006/relationships/image" Target="../media/image49.jpeg"/><Relationship Id="rId39" Type="http://schemas.openxmlformats.org/officeDocument/2006/relationships/image" Target="../media/image70.jpeg"/><Relationship Id="rId34" Type="http://schemas.openxmlformats.org/officeDocument/2006/relationships/image" Target="../media/image65.jpeg"/><Relationship Id="rId50" Type="http://schemas.openxmlformats.org/officeDocument/2006/relationships/image" Target="../media/image81.png"/><Relationship Id="rId55" Type="http://schemas.openxmlformats.org/officeDocument/2006/relationships/image" Target="../media/image86.png"/><Relationship Id="rId76" Type="http://schemas.openxmlformats.org/officeDocument/2006/relationships/image" Target="../media/image107.png"/><Relationship Id="rId7" Type="http://schemas.openxmlformats.org/officeDocument/2006/relationships/image" Target="../media/image26.emf"/><Relationship Id="rId71" Type="http://schemas.openxmlformats.org/officeDocument/2006/relationships/image" Target="../media/image102.jpeg"/><Relationship Id="rId2" Type="http://schemas.openxmlformats.org/officeDocument/2006/relationships/tags" Target="../tags/tag693.xml"/><Relationship Id="rId29" Type="http://schemas.openxmlformats.org/officeDocument/2006/relationships/image" Target="../media/image60.jpeg"/><Relationship Id="rId24" Type="http://schemas.openxmlformats.org/officeDocument/2006/relationships/image" Target="../media/image55.jpeg"/><Relationship Id="rId40" Type="http://schemas.openxmlformats.org/officeDocument/2006/relationships/image" Target="../media/image71.jpeg"/><Relationship Id="rId45" Type="http://schemas.openxmlformats.org/officeDocument/2006/relationships/image" Target="../media/image76.png"/><Relationship Id="rId66" Type="http://schemas.openxmlformats.org/officeDocument/2006/relationships/image" Target="../media/image97.jpeg"/><Relationship Id="rId87" Type="http://schemas.openxmlformats.org/officeDocument/2006/relationships/image" Target="../media/image118.jpeg"/><Relationship Id="rId61" Type="http://schemas.openxmlformats.org/officeDocument/2006/relationships/image" Target="../media/image92.jpeg"/><Relationship Id="rId82" Type="http://schemas.openxmlformats.org/officeDocument/2006/relationships/image" Target="../media/image113.jpeg"/><Relationship Id="rId19" Type="http://schemas.openxmlformats.org/officeDocument/2006/relationships/image" Target="../media/image50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2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13" Type="http://schemas.openxmlformats.org/officeDocument/2006/relationships/image" Target="../media/image135.png"/><Relationship Id="rId18" Type="http://schemas.openxmlformats.org/officeDocument/2006/relationships/image" Target="../media/image138.png"/><Relationship Id="rId3" Type="http://schemas.openxmlformats.org/officeDocument/2006/relationships/image" Target="../media/image125.png"/><Relationship Id="rId7" Type="http://schemas.openxmlformats.org/officeDocument/2006/relationships/image" Target="../media/image129.png"/><Relationship Id="rId12" Type="http://schemas.openxmlformats.org/officeDocument/2006/relationships/image" Target="../media/image134.png"/><Relationship Id="rId17" Type="http://schemas.openxmlformats.org/officeDocument/2006/relationships/image" Target="../media/image137.png"/><Relationship Id="rId2" Type="http://schemas.openxmlformats.org/officeDocument/2006/relationships/notesSlide" Target="../notesSlides/notesSlide3.xml"/><Relationship Id="rId16" Type="http://schemas.microsoft.com/office/2007/relationships/hdphoto" Target="../media/hdphoto6.wdp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8.png"/><Relationship Id="rId11" Type="http://schemas.openxmlformats.org/officeDocument/2006/relationships/image" Target="../media/image133.jpeg"/><Relationship Id="rId5" Type="http://schemas.openxmlformats.org/officeDocument/2006/relationships/image" Target="../media/image127.jpeg"/><Relationship Id="rId15" Type="http://schemas.openxmlformats.org/officeDocument/2006/relationships/image" Target="../media/image136.png"/><Relationship Id="rId10" Type="http://schemas.openxmlformats.org/officeDocument/2006/relationships/image" Target="../media/image132.jpeg"/><Relationship Id="rId4" Type="http://schemas.openxmlformats.org/officeDocument/2006/relationships/image" Target="../media/image126.png"/><Relationship Id="rId9" Type="http://schemas.openxmlformats.org/officeDocument/2006/relationships/image" Target="../media/image131.png"/><Relationship Id="rId14" Type="http://schemas.microsoft.com/office/2007/relationships/hdphoto" Target="../media/hdphoto5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jpg"/><Relationship Id="rId3" Type="http://schemas.openxmlformats.org/officeDocument/2006/relationships/tags" Target="../tags/tag696.xml"/><Relationship Id="rId7" Type="http://schemas.openxmlformats.org/officeDocument/2006/relationships/image" Target="../media/image142.jpg"/><Relationship Id="rId2" Type="http://schemas.openxmlformats.org/officeDocument/2006/relationships/tags" Target="../tags/tag695.xml"/><Relationship Id="rId1" Type="http://schemas.openxmlformats.org/officeDocument/2006/relationships/vmlDrawing" Target="../drawings/vmlDrawing441.vml"/><Relationship Id="rId6" Type="http://schemas.openxmlformats.org/officeDocument/2006/relationships/image" Target="../media/image27.emf"/><Relationship Id="rId11" Type="http://schemas.openxmlformats.org/officeDocument/2006/relationships/image" Target="../media/image141.png"/><Relationship Id="rId5" Type="http://schemas.openxmlformats.org/officeDocument/2006/relationships/oleObject" Target="../embeddings/oleObject442.bin"/><Relationship Id="rId10" Type="http://schemas.openxmlformats.org/officeDocument/2006/relationships/image" Target="../media/image14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4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98385" y="2588605"/>
            <a:ext cx="6481544" cy="925512"/>
          </a:xfrm>
          <a:noFill/>
        </p:spPr>
        <p:txBody>
          <a:bodyPr>
            <a:normAutofit fontScale="90000"/>
          </a:bodyPr>
          <a:lstStyle/>
          <a:p>
            <a:r>
              <a:rPr lang="en-US" sz="4000" b="1" dirty="0" smtClean="0"/>
              <a:t>Overview IGT Solutions</a:t>
            </a:r>
            <a:r>
              <a:rPr lang="en-US" sz="4000" b="1" dirty="0"/>
              <a:t/>
            </a:r>
            <a:br>
              <a:rPr lang="en-US" sz="4000" b="1" dirty="0"/>
            </a:br>
            <a:r>
              <a:rPr lang="en-US" sz="2200" b="1" i="1" dirty="0" smtClean="0"/>
              <a:t>Risk Assurance and QE Capabilities</a:t>
            </a:r>
            <a:endParaRPr lang="en-US" sz="2000" i="1" dirty="0"/>
          </a:p>
        </p:txBody>
      </p:sp>
    </p:spTree>
    <p:extLst>
      <p:ext uri="{BB962C8B-B14F-4D97-AF65-F5344CB8AC3E}">
        <p14:creationId xmlns:p14="http://schemas.microsoft.com/office/powerpoint/2010/main" val="2923800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4784" y="3271082"/>
            <a:ext cx="6530915" cy="870796"/>
          </a:xfrm>
        </p:spPr>
        <p:txBody>
          <a:bodyPr/>
          <a:lstStyle/>
          <a:p>
            <a:r>
              <a:rPr lang="en-US" dirty="0" smtClean="0"/>
              <a:t>Cloud Testing Capabil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8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462" y="236102"/>
            <a:ext cx="10843937" cy="51392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 smtClean="0">
                <a:solidFill>
                  <a:schemeClr val="tx2"/>
                </a:solidFill>
              </a:rPr>
              <a:t>Our </a:t>
            </a:r>
            <a:r>
              <a:rPr lang="en-GB" dirty="0">
                <a:solidFill>
                  <a:schemeClr val="tx2"/>
                </a:solidFill>
              </a:rPr>
              <a:t>Cloud Testing Capability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8228" y="1451610"/>
            <a:ext cx="5572035" cy="421245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940699" y="2255520"/>
            <a:ext cx="8522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71993" y="2534191"/>
            <a:ext cx="989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719152" y="2962397"/>
            <a:ext cx="1851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I/ML led 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sting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F468D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719152" y="3331729"/>
            <a:ext cx="19944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 of seamless data access, sentimental analysis, model training, Accuracy analys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331689" y="1615778"/>
            <a:ext cx="1570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icro Service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F468D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331689" y="1997765"/>
            <a:ext cx="26234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 of Integrations, Contract, Services, scalability, Containers, Performance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852916" y="1349028"/>
            <a:ext cx="1200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oud API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F468D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832509" y="1661944"/>
            <a:ext cx="29392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 of pre-built APIs, Integration, Gateways,  Database APIs, Networking API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290707" y="1800860"/>
            <a:ext cx="1581286" cy="0"/>
          </a:xfrm>
          <a:prstGeom prst="line">
            <a:avLst/>
          </a:prstGeom>
          <a:ln>
            <a:solidFill>
              <a:srgbClr val="29AA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V="1">
            <a:off x="3579657" y="3183913"/>
            <a:ext cx="750980" cy="0"/>
          </a:xfrm>
          <a:prstGeom prst="line">
            <a:avLst/>
          </a:prstGeom>
          <a:ln>
            <a:solidFill>
              <a:srgbClr val="29AA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8321542" y="2185401"/>
            <a:ext cx="9320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stOp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F468D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321541" y="2488792"/>
            <a:ext cx="3275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 of DevOps, CI/ CD Pipeline, Automation, performance, security, integrations, functionality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5511393" y="1615778"/>
            <a:ext cx="1341523" cy="0"/>
          </a:xfrm>
          <a:prstGeom prst="line">
            <a:avLst/>
          </a:prstGeom>
          <a:ln>
            <a:solidFill>
              <a:srgbClr val="29AA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6577955" y="2392065"/>
            <a:ext cx="1818436" cy="0"/>
          </a:xfrm>
          <a:prstGeom prst="line">
            <a:avLst/>
          </a:prstGeom>
          <a:ln>
            <a:solidFill>
              <a:srgbClr val="29AA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7761323" y="3071197"/>
            <a:ext cx="1596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oT Over Clou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F468D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753488" y="3376602"/>
            <a:ext cx="2939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 of IoT devices, platforms, Data protocols, Security, Network, Heterogeneous interphases</a:t>
            </a:r>
          </a:p>
        </p:txBody>
      </p:sp>
      <p:cxnSp>
        <p:nvCxnSpPr>
          <p:cNvPr id="77" name="Straight Connector 76"/>
          <p:cNvCxnSpPr/>
          <p:nvPr/>
        </p:nvCxnSpPr>
        <p:spPr>
          <a:xfrm flipV="1">
            <a:off x="6927125" y="3219668"/>
            <a:ext cx="796098" cy="0"/>
          </a:xfrm>
          <a:prstGeom prst="line">
            <a:avLst/>
          </a:prstGeom>
          <a:ln>
            <a:solidFill>
              <a:srgbClr val="29AA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0" y="5688149"/>
            <a:ext cx="12192000" cy="617809"/>
            <a:chOff x="0" y="5413829"/>
            <a:chExt cx="12192000" cy="841828"/>
          </a:xfrm>
        </p:grpSpPr>
        <p:sp>
          <p:nvSpPr>
            <p:cNvPr id="16" name="Rectangle 15"/>
            <p:cNvSpPr/>
            <p:nvPr/>
          </p:nvSpPr>
          <p:spPr>
            <a:xfrm>
              <a:off x="0" y="5413829"/>
              <a:ext cx="12192000" cy="841828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02542" y="5656376"/>
              <a:ext cx="12582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rformanc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2726349" y="5656376"/>
              <a:ext cx="108677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vailability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578635" y="5656376"/>
              <a:ext cx="85632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curity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6200474" y="5656376"/>
              <a:ext cx="13671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lti-Tenancy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8333094" y="5656376"/>
              <a:ext cx="147303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teroperability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0571639" y="5656376"/>
              <a:ext cx="90281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sability</a:t>
              </a:r>
            </a:p>
          </p:txBody>
        </p:sp>
        <p:cxnSp>
          <p:nvCxnSpPr>
            <p:cNvPr id="19" name="Straight Connector 18"/>
            <p:cNvCxnSpPr/>
            <p:nvPr/>
          </p:nvCxnSpPr>
          <p:spPr>
            <a:xfrm flipH="1">
              <a:off x="2351315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4243553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5792984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7818621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10155421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7" name="Graphic 190">
            <a:extLst>
              <a:ext uri="{FF2B5EF4-FFF2-40B4-BE49-F238E27FC236}">
                <a16:creationId xmlns:a16="http://schemas.microsoft.com/office/drawing/2014/main" id="{F67DC06D-7371-4392-AFA1-284C76ABD4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282367" y="2962397"/>
            <a:ext cx="415427" cy="506821"/>
          </a:xfrm>
          <a:prstGeom prst="rect">
            <a:avLst/>
          </a:prstGeom>
        </p:spPr>
      </p:pic>
      <p:sp>
        <p:nvSpPr>
          <p:cNvPr id="88" name="Oval 87"/>
          <p:cNvSpPr>
            <a:spLocks noChangeAspect="1"/>
          </p:cNvSpPr>
          <p:nvPr/>
        </p:nvSpPr>
        <p:spPr>
          <a:xfrm>
            <a:off x="738463" y="1573351"/>
            <a:ext cx="682169" cy="682169"/>
          </a:xfrm>
          <a:prstGeom prst="ellipse">
            <a:avLst/>
          </a:prstGeom>
          <a:blipFill dpi="0" rotWithShape="1">
            <a:blip r:embed="rId2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3000" t="-11000" r="-20000" b="-16000"/>
            </a:stretch>
          </a:blip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427" y="1103521"/>
            <a:ext cx="539333" cy="54595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3592" y="2196442"/>
            <a:ext cx="523623" cy="28986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5557" y="3075308"/>
            <a:ext cx="313627" cy="313627"/>
          </a:xfrm>
          <a:prstGeom prst="rect">
            <a:avLst/>
          </a:prstGeom>
        </p:spPr>
      </p:pic>
      <p:sp>
        <p:nvSpPr>
          <p:cNvPr id="40" name="NavigationTriangle">
            <a:extLst>
              <a:ext uri="{FF2B5EF4-FFF2-40B4-BE49-F238E27FC236}">
                <a16:creationId xmlns:a16="http://schemas.microsoft.com/office/drawing/2014/main" id="{BE95EBFF-A997-446E-A84A-6FE3268C52A9}"/>
              </a:ext>
            </a:extLst>
          </p:cNvPr>
          <p:cNvSpPr/>
          <p:nvPr/>
        </p:nvSpPr>
        <p:spPr>
          <a:xfrm rot="10800000">
            <a:off x="0" y="-3031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15A2B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29" cstate="print">
            <a:clrChange>
              <a:clrFrom>
                <a:srgbClr val="B3B3B3"/>
              </a:clrFrom>
              <a:clrTo>
                <a:srgbClr val="B3B3B3">
                  <a:alpha val="0"/>
                </a:srgbClr>
              </a:clrTo>
            </a:clrChange>
            <a:lum bright="8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" y="138215"/>
            <a:ext cx="431538" cy="43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57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Intelligent Cloud Testing Solutions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Assuring your cloud journey achieves stated objectives</a:t>
            </a:r>
          </a:p>
          <a:p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61" name="Freeform 60"/>
          <p:cNvSpPr/>
          <p:nvPr/>
        </p:nvSpPr>
        <p:spPr>
          <a:xfrm>
            <a:off x="899886" y="1245806"/>
            <a:ext cx="10813143" cy="888093"/>
          </a:xfrm>
          <a:custGeom>
            <a:avLst/>
            <a:gdLst>
              <a:gd name="connsiteX0" fmla="*/ 6246326 w 10245983"/>
              <a:gd name="connsiteY0" fmla="*/ 13 h 2613321"/>
              <a:gd name="connsiteX1" fmla="*/ 6983541 w 10245983"/>
              <a:gd name="connsiteY1" fmla="*/ 180507 h 2613321"/>
              <a:gd name="connsiteX2" fmla="*/ 7063609 w 10245983"/>
              <a:gd name="connsiteY2" fmla="*/ 235162 h 2613321"/>
              <a:gd name="connsiteX3" fmla="*/ 7071983 w 10245983"/>
              <a:gd name="connsiteY3" fmla="*/ 228340 h 2613321"/>
              <a:gd name="connsiteX4" fmla="*/ 7064314 w 10245983"/>
              <a:gd name="connsiteY4" fmla="*/ 235644 h 2613321"/>
              <a:gd name="connsiteX5" fmla="*/ 7075063 w 10245983"/>
              <a:gd name="connsiteY5" fmla="*/ 242981 h 2613321"/>
              <a:gd name="connsiteX6" fmla="*/ 8408613 w 10245983"/>
              <a:gd name="connsiteY6" fmla="*/ 57007 h 2613321"/>
              <a:gd name="connsiteX7" fmla="*/ 9084863 w 10245983"/>
              <a:gd name="connsiteY7" fmla="*/ 564359 h 2613321"/>
              <a:gd name="connsiteX8" fmla="*/ 9088523 w 10245983"/>
              <a:gd name="connsiteY8" fmla="*/ 565104 h 2613321"/>
              <a:gd name="connsiteX9" fmla="*/ 9234228 w 10245983"/>
              <a:gd name="connsiteY9" fmla="*/ 594775 h 2613321"/>
              <a:gd name="connsiteX10" fmla="*/ 9952736 w 10245983"/>
              <a:gd name="connsiteY10" fmla="*/ 1056757 h 2613321"/>
              <a:gd name="connsiteX11" fmla="*/ 9913890 w 10245983"/>
              <a:gd name="connsiteY11" fmla="*/ 1590691 h 2613321"/>
              <a:gd name="connsiteX12" fmla="*/ 10197655 w 10245983"/>
              <a:gd name="connsiteY12" fmla="*/ 2407063 h 2613321"/>
              <a:gd name="connsiteX13" fmla="*/ 10121437 w 10245983"/>
              <a:gd name="connsiteY13" fmla="*/ 2543792 h 2613321"/>
              <a:gd name="connsiteX14" fmla="*/ 10062145 w 10245983"/>
              <a:gd name="connsiteY14" fmla="*/ 2613321 h 2613321"/>
              <a:gd name="connsiteX15" fmla="*/ 448217 w 10245983"/>
              <a:gd name="connsiteY15" fmla="*/ 2613321 h 2613321"/>
              <a:gd name="connsiteX16" fmla="*/ 383984 w 10245983"/>
              <a:gd name="connsiteY16" fmla="*/ 2586765 h 2613321"/>
              <a:gd name="connsiteX17" fmla="*/ 7482 w 10245983"/>
              <a:gd name="connsiteY17" fmla="*/ 2031378 h 2613321"/>
              <a:gd name="connsiteX18" fmla="*/ 923676 w 10245983"/>
              <a:gd name="connsiteY18" fmla="*/ 1491734 h 2613321"/>
              <a:gd name="connsiteX19" fmla="*/ 932440 w 10245983"/>
              <a:gd name="connsiteY19" fmla="*/ 1477508 h 2613321"/>
              <a:gd name="connsiteX20" fmla="*/ 1340559 w 10245983"/>
              <a:gd name="connsiteY20" fmla="*/ 702567 h 2613321"/>
              <a:gd name="connsiteX21" fmla="*/ 3325962 w 10245983"/>
              <a:gd name="connsiteY21" fmla="*/ 525523 h 2613321"/>
              <a:gd name="connsiteX22" fmla="*/ 3326311 w 10245983"/>
              <a:gd name="connsiteY22" fmla="*/ 525182 h 2613321"/>
              <a:gd name="connsiteX23" fmla="*/ 3324777 w 10245983"/>
              <a:gd name="connsiteY23" fmla="*/ 524485 h 2613321"/>
              <a:gd name="connsiteX24" fmla="*/ 3326372 w 10245983"/>
              <a:gd name="connsiteY24" fmla="*/ 525122 h 2613321"/>
              <a:gd name="connsiteX25" fmla="*/ 3407131 w 10245983"/>
              <a:gd name="connsiteY25" fmla="*/ 446107 h 2613321"/>
              <a:gd name="connsiteX26" fmla="*/ 5327709 w 10245983"/>
              <a:gd name="connsiteY26" fmla="*/ 341730 h 2613321"/>
              <a:gd name="connsiteX27" fmla="*/ 5336637 w 10245983"/>
              <a:gd name="connsiteY27" fmla="*/ 333675 h 2613321"/>
              <a:gd name="connsiteX28" fmla="*/ 5466304 w 10245983"/>
              <a:gd name="connsiteY28" fmla="*/ 216676 h 2613321"/>
              <a:gd name="connsiteX29" fmla="*/ 6107706 w 10245983"/>
              <a:gd name="connsiteY29" fmla="*/ 6127 h 2613321"/>
              <a:gd name="connsiteX30" fmla="*/ 6246326 w 10245983"/>
              <a:gd name="connsiteY30" fmla="*/ 13 h 2613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245983" h="2613321">
                <a:moveTo>
                  <a:pt x="6246326" y="13"/>
                </a:moveTo>
                <a:cubicBezTo>
                  <a:pt x="6522409" y="-1056"/>
                  <a:pt x="6788200" y="64000"/>
                  <a:pt x="6983541" y="180507"/>
                </a:cubicBezTo>
                <a:lnTo>
                  <a:pt x="7063609" y="235162"/>
                </a:lnTo>
                <a:lnTo>
                  <a:pt x="7071983" y="228340"/>
                </a:lnTo>
                <a:lnTo>
                  <a:pt x="7064314" y="235644"/>
                </a:lnTo>
                <a:lnTo>
                  <a:pt x="7075063" y="242981"/>
                </a:lnTo>
                <a:cubicBezTo>
                  <a:pt x="7402410" y="13084"/>
                  <a:pt x="7943884" y="-62406"/>
                  <a:pt x="8408613" y="57007"/>
                </a:cubicBezTo>
                <a:cubicBezTo>
                  <a:pt x="8762726" y="147969"/>
                  <a:pt x="9016645" y="338408"/>
                  <a:pt x="9084863" y="564359"/>
                </a:cubicBezTo>
                <a:lnTo>
                  <a:pt x="9088523" y="565104"/>
                </a:lnTo>
                <a:lnTo>
                  <a:pt x="9234228" y="594775"/>
                </a:lnTo>
                <a:cubicBezTo>
                  <a:pt x="9572627" y="678106"/>
                  <a:pt x="9836673" y="845967"/>
                  <a:pt x="9952736" y="1056757"/>
                </a:cubicBezTo>
                <a:cubicBezTo>
                  <a:pt x="10049140" y="1231620"/>
                  <a:pt x="10035402" y="1421539"/>
                  <a:pt x="9913890" y="1590691"/>
                </a:cubicBezTo>
                <a:cubicBezTo>
                  <a:pt x="10212577" y="1822665"/>
                  <a:pt x="10317035" y="2123378"/>
                  <a:pt x="10197655" y="2407063"/>
                </a:cubicBezTo>
                <a:cubicBezTo>
                  <a:pt x="10177817" y="2454206"/>
                  <a:pt x="10152251" y="2499868"/>
                  <a:pt x="10121437" y="2543792"/>
                </a:cubicBezTo>
                <a:lnTo>
                  <a:pt x="10062145" y="2613321"/>
                </a:lnTo>
                <a:lnTo>
                  <a:pt x="448217" y="2613321"/>
                </a:lnTo>
                <a:lnTo>
                  <a:pt x="383984" y="2586765"/>
                </a:lnTo>
                <a:cubicBezTo>
                  <a:pt x="109867" y="2454504"/>
                  <a:pt x="-35628" y="2245167"/>
                  <a:pt x="7482" y="2031378"/>
                </a:cubicBezTo>
                <a:cubicBezTo>
                  <a:pt x="65277" y="1745305"/>
                  <a:pt x="445682" y="1521223"/>
                  <a:pt x="923676" y="1491734"/>
                </a:cubicBezTo>
                <a:cubicBezTo>
                  <a:pt x="926519" y="1486957"/>
                  <a:pt x="929598" y="1482284"/>
                  <a:pt x="932440" y="1477508"/>
                </a:cubicBezTo>
                <a:cubicBezTo>
                  <a:pt x="868250" y="1195796"/>
                  <a:pt x="1017948" y="911696"/>
                  <a:pt x="1340559" y="702567"/>
                </a:cubicBezTo>
                <a:cubicBezTo>
                  <a:pt x="1850293" y="372259"/>
                  <a:pt x="2676715" y="298638"/>
                  <a:pt x="3325962" y="525523"/>
                </a:cubicBezTo>
                <a:lnTo>
                  <a:pt x="3326311" y="525182"/>
                </a:lnTo>
                <a:lnTo>
                  <a:pt x="3324777" y="524485"/>
                </a:lnTo>
                <a:lnTo>
                  <a:pt x="3326372" y="525122"/>
                </a:lnTo>
                <a:lnTo>
                  <a:pt x="3407131" y="446107"/>
                </a:lnTo>
                <a:cubicBezTo>
                  <a:pt x="3846090" y="69978"/>
                  <a:pt x="4763230" y="9774"/>
                  <a:pt x="5327709" y="341730"/>
                </a:cubicBezTo>
                <a:lnTo>
                  <a:pt x="5336637" y="333675"/>
                </a:lnTo>
                <a:lnTo>
                  <a:pt x="5466304" y="216676"/>
                </a:lnTo>
                <a:cubicBezTo>
                  <a:pt x="5628143" y="103416"/>
                  <a:pt x="5855267" y="27465"/>
                  <a:pt x="6107706" y="6127"/>
                </a:cubicBezTo>
                <a:cubicBezTo>
                  <a:pt x="6154013" y="2207"/>
                  <a:pt x="6200313" y="192"/>
                  <a:pt x="6246326" y="13"/>
                </a:cubicBez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838657" y="1581627"/>
            <a:ext cx="33256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 COMPUTING LANDSCAP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7075" y="2164379"/>
            <a:ext cx="1283154" cy="720367"/>
          </a:xfrm>
          <a:prstGeom prst="rect">
            <a:avLst/>
          </a:prstGeom>
        </p:spPr>
      </p:pic>
      <p:cxnSp>
        <p:nvCxnSpPr>
          <p:cNvPr id="67" name="Straight Connector 66"/>
          <p:cNvCxnSpPr/>
          <p:nvPr/>
        </p:nvCxnSpPr>
        <p:spPr>
          <a:xfrm>
            <a:off x="312056" y="2218195"/>
            <a:ext cx="0" cy="433282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 Same Side Corner Rectangle 64"/>
          <p:cNvSpPr/>
          <p:nvPr/>
        </p:nvSpPr>
        <p:spPr>
          <a:xfrm rot="5400000">
            <a:off x="562882" y="1867960"/>
            <a:ext cx="508000" cy="134166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Isosceles Triangle 68"/>
          <p:cNvSpPr/>
          <p:nvPr/>
        </p:nvSpPr>
        <p:spPr>
          <a:xfrm rot="10800000">
            <a:off x="146050" y="2792792"/>
            <a:ext cx="166006" cy="218966"/>
          </a:xfrm>
          <a:prstGeom prst="triangl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3111" y="2133899"/>
            <a:ext cx="1366216" cy="822045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2209" y="2133899"/>
            <a:ext cx="1294083" cy="745743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1744" y="2133899"/>
            <a:ext cx="1267763" cy="745743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9817" y="2133899"/>
            <a:ext cx="1267763" cy="745743"/>
          </a:xfrm>
          <a:prstGeom prst="rect">
            <a:avLst/>
          </a:prstGeom>
        </p:spPr>
      </p:pic>
      <p:sp>
        <p:nvSpPr>
          <p:cNvPr id="74" name="TextBox 73"/>
          <p:cNvSpPr txBox="1"/>
          <p:nvPr/>
        </p:nvSpPr>
        <p:spPr>
          <a:xfrm>
            <a:off x="2078705" y="2314089"/>
            <a:ext cx="11357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 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form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335571" y="2431822"/>
            <a:ext cx="4491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aaS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287927" y="2406422"/>
            <a:ext cx="4862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aS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8291388" y="2431822"/>
            <a:ext cx="508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aS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0133888" y="2406422"/>
            <a:ext cx="4796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aS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07117" y="2314089"/>
            <a:ext cx="985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 Sub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ound Same Side Corner Rectangle 79"/>
          <p:cNvSpPr/>
          <p:nvPr/>
        </p:nvSpPr>
        <p:spPr>
          <a:xfrm rot="5400000">
            <a:off x="562882" y="2896230"/>
            <a:ext cx="508000" cy="134166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Isosceles Triangle 80"/>
          <p:cNvSpPr/>
          <p:nvPr/>
        </p:nvSpPr>
        <p:spPr>
          <a:xfrm rot="10800000">
            <a:off x="146050" y="3821062"/>
            <a:ext cx="166006" cy="218966"/>
          </a:xfrm>
          <a:prstGeom prst="triangl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23716" y="3342359"/>
            <a:ext cx="1095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GT Cloud Test Offerings</a:t>
            </a:r>
          </a:p>
        </p:txBody>
      </p:sp>
      <p:sp>
        <p:nvSpPr>
          <p:cNvPr id="83" name="Rounded Rectangle 82"/>
          <p:cNvSpPr/>
          <p:nvPr/>
        </p:nvSpPr>
        <p:spPr>
          <a:xfrm>
            <a:off x="1997075" y="3374022"/>
            <a:ext cx="1201524" cy="623975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90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 Transformation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ura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ounded Rectangle 83"/>
          <p:cNvSpPr/>
          <p:nvPr/>
        </p:nvSpPr>
        <p:spPr>
          <a:xfrm>
            <a:off x="3995457" y="3367530"/>
            <a:ext cx="1201524" cy="623975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50A60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aaS Testing Services</a:t>
            </a:r>
          </a:p>
        </p:txBody>
      </p:sp>
      <p:sp>
        <p:nvSpPr>
          <p:cNvPr id="85" name="Rounded Rectangle 84"/>
          <p:cNvSpPr/>
          <p:nvPr/>
        </p:nvSpPr>
        <p:spPr>
          <a:xfrm>
            <a:off x="5942976" y="3374022"/>
            <a:ext cx="1201524" cy="623975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F27E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aS Testing Services </a:t>
            </a:r>
          </a:p>
        </p:txBody>
      </p:sp>
      <p:sp>
        <p:nvSpPr>
          <p:cNvPr id="86" name="Rounded Rectangle 85"/>
          <p:cNvSpPr/>
          <p:nvPr/>
        </p:nvSpPr>
        <p:spPr>
          <a:xfrm>
            <a:off x="7977983" y="3374022"/>
            <a:ext cx="1201524" cy="623975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B23C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aS Testing Services</a:t>
            </a:r>
          </a:p>
        </p:txBody>
      </p:sp>
      <p:sp>
        <p:nvSpPr>
          <p:cNvPr id="87" name="Rounded Rectangle 86"/>
          <p:cNvSpPr/>
          <p:nvPr/>
        </p:nvSpPr>
        <p:spPr>
          <a:xfrm>
            <a:off x="9854358" y="3343032"/>
            <a:ext cx="1201524" cy="623975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46AF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aS Testing Services</a:t>
            </a:r>
          </a:p>
        </p:txBody>
      </p:sp>
      <p:sp>
        <p:nvSpPr>
          <p:cNvPr id="88" name="Round Same Side Corner Rectangle 87"/>
          <p:cNvSpPr/>
          <p:nvPr/>
        </p:nvSpPr>
        <p:spPr>
          <a:xfrm rot="5400000">
            <a:off x="547648" y="3689313"/>
            <a:ext cx="508000" cy="134166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Isosceles Triangle 88"/>
          <p:cNvSpPr/>
          <p:nvPr/>
        </p:nvSpPr>
        <p:spPr>
          <a:xfrm rot="10800000">
            <a:off x="130816" y="4614145"/>
            <a:ext cx="166006" cy="218966"/>
          </a:xfrm>
          <a:prstGeom prst="triangl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27290" y="4221645"/>
            <a:ext cx="9855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verage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1653720" y="4150671"/>
            <a:ext cx="1117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P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600780" y="4150671"/>
            <a:ext cx="1258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line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ce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ity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053514" y="4150671"/>
            <a:ext cx="12838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alability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orage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ing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5753522" y="4150671"/>
            <a:ext cx="11367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ase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 server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6732672" y="4150671"/>
            <a:ext cx="11065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I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 GUI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977983" y="4150671"/>
            <a:ext cx="12015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ing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rewalls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ity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838287" y="4150671"/>
            <a:ext cx="17900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demand software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lability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ce</a:t>
            </a:r>
          </a:p>
        </p:txBody>
      </p:sp>
      <p:cxnSp>
        <p:nvCxnSpPr>
          <p:cNvPr id="99" name="Straight Connector 98"/>
          <p:cNvCxnSpPr/>
          <p:nvPr/>
        </p:nvCxnSpPr>
        <p:spPr>
          <a:xfrm flipH="1">
            <a:off x="3859043" y="4117242"/>
            <a:ext cx="1" cy="70381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 flipH="1">
            <a:off x="5529180" y="4117242"/>
            <a:ext cx="1" cy="70381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 flipH="1">
            <a:off x="7786186" y="4117242"/>
            <a:ext cx="1" cy="70381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 flipH="1">
            <a:off x="9516932" y="4117242"/>
            <a:ext cx="1" cy="70381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ound Same Side Corner Rectangle 103"/>
          <p:cNvSpPr/>
          <p:nvPr/>
        </p:nvSpPr>
        <p:spPr>
          <a:xfrm rot="5400000">
            <a:off x="547648" y="4438886"/>
            <a:ext cx="508000" cy="134166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Isosceles Triangle 104"/>
          <p:cNvSpPr/>
          <p:nvPr/>
        </p:nvSpPr>
        <p:spPr>
          <a:xfrm rot="10800000">
            <a:off x="130816" y="5363718"/>
            <a:ext cx="166006" cy="218966"/>
          </a:xfrm>
          <a:prstGeom prst="triangl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96822" y="4887539"/>
            <a:ext cx="985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GT Pre-built Levers</a:t>
            </a:r>
          </a:p>
        </p:txBody>
      </p:sp>
      <p:sp>
        <p:nvSpPr>
          <p:cNvPr id="107" name="Rounded Rectangle 106"/>
          <p:cNvSpPr/>
          <p:nvPr/>
        </p:nvSpPr>
        <p:spPr>
          <a:xfrm>
            <a:off x="1966866" y="4905963"/>
            <a:ext cx="1608911" cy="4761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 Testing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b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Rounded Rectangle 107"/>
          <p:cNvSpPr/>
          <p:nvPr/>
        </p:nvSpPr>
        <p:spPr>
          <a:xfrm>
            <a:off x="4436289" y="4905963"/>
            <a:ext cx="1608911" cy="4761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 Use Cases</a:t>
            </a:r>
          </a:p>
        </p:txBody>
      </p:sp>
      <p:sp>
        <p:nvSpPr>
          <p:cNvPr id="109" name="Rounded Rectangle 108"/>
          <p:cNvSpPr/>
          <p:nvPr/>
        </p:nvSpPr>
        <p:spPr>
          <a:xfrm>
            <a:off x="6774150" y="4932053"/>
            <a:ext cx="1608911" cy="4761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ro lead time</a:t>
            </a:r>
          </a:p>
        </p:txBody>
      </p:sp>
      <p:sp>
        <p:nvSpPr>
          <p:cNvPr id="110" name="Rounded Rectangle 109"/>
          <p:cNvSpPr/>
          <p:nvPr/>
        </p:nvSpPr>
        <p:spPr>
          <a:xfrm>
            <a:off x="9243573" y="4932053"/>
            <a:ext cx="1608911" cy="4761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meworks on Cloud</a:t>
            </a:r>
          </a:p>
        </p:txBody>
      </p:sp>
      <p:sp>
        <p:nvSpPr>
          <p:cNvPr id="111" name="Round Same Side Corner Rectangle 110"/>
          <p:cNvSpPr/>
          <p:nvPr/>
        </p:nvSpPr>
        <p:spPr>
          <a:xfrm rot="5400000">
            <a:off x="547648" y="5212437"/>
            <a:ext cx="508000" cy="134166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Isosceles Triangle 111"/>
          <p:cNvSpPr/>
          <p:nvPr/>
        </p:nvSpPr>
        <p:spPr>
          <a:xfrm rot="10800000">
            <a:off x="153683" y="6137269"/>
            <a:ext cx="166006" cy="218966"/>
          </a:xfrm>
          <a:prstGeom prst="triangl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354159" y="5661090"/>
            <a:ext cx="985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ent benefits</a:t>
            </a:r>
          </a:p>
        </p:txBody>
      </p:sp>
      <p:sp>
        <p:nvSpPr>
          <p:cNvPr id="116" name="Freeform 115"/>
          <p:cNvSpPr/>
          <p:nvPr/>
        </p:nvSpPr>
        <p:spPr>
          <a:xfrm>
            <a:off x="8871836" y="969803"/>
            <a:ext cx="1872363" cy="832768"/>
          </a:xfrm>
          <a:custGeom>
            <a:avLst/>
            <a:gdLst>
              <a:gd name="connsiteX0" fmla="*/ 6246326 w 10245983"/>
              <a:gd name="connsiteY0" fmla="*/ 13 h 2613321"/>
              <a:gd name="connsiteX1" fmla="*/ 6983541 w 10245983"/>
              <a:gd name="connsiteY1" fmla="*/ 180507 h 2613321"/>
              <a:gd name="connsiteX2" fmla="*/ 7063609 w 10245983"/>
              <a:gd name="connsiteY2" fmla="*/ 235162 h 2613321"/>
              <a:gd name="connsiteX3" fmla="*/ 7071983 w 10245983"/>
              <a:gd name="connsiteY3" fmla="*/ 228340 h 2613321"/>
              <a:gd name="connsiteX4" fmla="*/ 7064314 w 10245983"/>
              <a:gd name="connsiteY4" fmla="*/ 235644 h 2613321"/>
              <a:gd name="connsiteX5" fmla="*/ 7075063 w 10245983"/>
              <a:gd name="connsiteY5" fmla="*/ 242981 h 2613321"/>
              <a:gd name="connsiteX6" fmla="*/ 8408613 w 10245983"/>
              <a:gd name="connsiteY6" fmla="*/ 57007 h 2613321"/>
              <a:gd name="connsiteX7" fmla="*/ 9084863 w 10245983"/>
              <a:gd name="connsiteY7" fmla="*/ 564359 h 2613321"/>
              <a:gd name="connsiteX8" fmla="*/ 9088523 w 10245983"/>
              <a:gd name="connsiteY8" fmla="*/ 565104 h 2613321"/>
              <a:gd name="connsiteX9" fmla="*/ 9234228 w 10245983"/>
              <a:gd name="connsiteY9" fmla="*/ 594775 h 2613321"/>
              <a:gd name="connsiteX10" fmla="*/ 9952736 w 10245983"/>
              <a:gd name="connsiteY10" fmla="*/ 1056757 h 2613321"/>
              <a:gd name="connsiteX11" fmla="*/ 9913890 w 10245983"/>
              <a:gd name="connsiteY11" fmla="*/ 1590691 h 2613321"/>
              <a:gd name="connsiteX12" fmla="*/ 10197655 w 10245983"/>
              <a:gd name="connsiteY12" fmla="*/ 2407063 h 2613321"/>
              <a:gd name="connsiteX13" fmla="*/ 10121437 w 10245983"/>
              <a:gd name="connsiteY13" fmla="*/ 2543792 h 2613321"/>
              <a:gd name="connsiteX14" fmla="*/ 10062145 w 10245983"/>
              <a:gd name="connsiteY14" fmla="*/ 2613321 h 2613321"/>
              <a:gd name="connsiteX15" fmla="*/ 448217 w 10245983"/>
              <a:gd name="connsiteY15" fmla="*/ 2613321 h 2613321"/>
              <a:gd name="connsiteX16" fmla="*/ 383984 w 10245983"/>
              <a:gd name="connsiteY16" fmla="*/ 2586765 h 2613321"/>
              <a:gd name="connsiteX17" fmla="*/ 7482 w 10245983"/>
              <a:gd name="connsiteY17" fmla="*/ 2031378 h 2613321"/>
              <a:gd name="connsiteX18" fmla="*/ 923676 w 10245983"/>
              <a:gd name="connsiteY18" fmla="*/ 1491734 h 2613321"/>
              <a:gd name="connsiteX19" fmla="*/ 932440 w 10245983"/>
              <a:gd name="connsiteY19" fmla="*/ 1477508 h 2613321"/>
              <a:gd name="connsiteX20" fmla="*/ 1340559 w 10245983"/>
              <a:gd name="connsiteY20" fmla="*/ 702567 h 2613321"/>
              <a:gd name="connsiteX21" fmla="*/ 3325962 w 10245983"/>
              <a:gd name="connsiteY21" fmla="*/ 525523 h 2613321"/>
              <a:gd name="connsiteX22" fmla="*/ 3326311 w 10245983"/>
              <a:gd name="connsiteY22" fmla="*/ 525182 h 2613321"/>
              <a:gd name="connsiteX23" fmla="*/ 3324777 w 10245983"/>
              <a:gd name="connsiteY23" fmla="*/ 524485 h 2613321"/>
              <a:gd name="connsiteX24" fmla="*/ 3326372 w 10245983"/>
              <a:gd name="connsiteY24" fmla="*/ 525122 h 2613321"/>
              <a:gd name="connsiteX25" fmla="*/ 3407131 w 10245983"/>
              <a:gd name="connsiteY25" fmla="*/ 446107 h 2613321"/>
              <a:gd name="connsiteX26" fmla="*/ 5327709 w 10245983"/>
              <a:gd name="connsiteY26" fmla="*/ 341730 h 2613321"/>
              <a:gd name="connsiteX27" fmla="*/ 5336637 w 10245983"/>
              <a:gd name="connsiteY27" fmla="*/ 333675 h 2613321"/>
              <a:gd name="connsiteX28" fmla="*/ 5466304 w 10245983"/>
              <a:gd name="connsiteY28" fmla="*/ 216676 h 2613321"/>
              <a:gd name="connsiteX29" fmla="*/ 6107706 w 10245983"/>
              <a:gd name="connsiteY29" fmla="*/ 6127 h 2613321"/>
              <a:gd name="connsiteX30" fmla="*/ 6246326 w 10245983"/>
              <a:gd name="connsiteY30" fmla="*/ 13 h 2613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245983" h="2613321">
                <a:moveTo>
                  <a:pt x="6246326" y="13"/>
                </a:moveTo>
                <a:cubicBezTo>
                  <a:pt x="6522409" y="-1056"/>
                  <a:pt x="6788200" y="64000"/>
                  <a:pt x="6983541" y="180507"/>
                </a:cubicBezTo>
                <a:lnTo>
                  <a:pt x="7063609" y="235162"/>
                </a:lnTo>
                <a:lnTo>
                  <a:pt x="7071983" y="228340"/>
                </a:lnTo>
                <a:lnTo>
                  <a:pt x="7064314" y="235644"/>
                </a:lnTo>
                <a:lnTo>
                  <a:pt x="7075063" y="242981"/>
                </a:lnTo>
                <a:cubicBezTo>
                  <a:pt x="7402410" y="13084"/>
                  <a:pt x="7943884" y="-62406"/>
                  <a:pt x="8408613" y="57007"/>
                </a:cubicBezTo>
                <a:cubicBezTo>
                  <a:pt x="8762726" y="147969"/>
                  <a:pt x="9016645" y="338408"/>
                  <a:pt x="9084863" y="564359"/>
                </a:cubicBezTo>
                <a:lnTo>
                  <a:pt x="9088523" y="565104"/>
                </a:lnTo>
                <a:lnTo>
                  <a:pt x="9234228" y="594775"/>
                </a:lnTo>
                <a:cubicBezTo>
                  <a:pt x="9572627" y="678106"/>
                  <a:pt x="9836673" y="845967"/>
                  <a:pt x="9952736" y="1056757"/>
                </a:cubicBezTo>
                <a:cubicBezTo>
                  <a:pt x="10049140" y="1231620"/>
                  <a:pt x="10035402" y="1421539"/>
                  <a:pt x="9913890" y="1590691"/>
                </a:cubicBezTo>
                <a:cubicBezTo>
                  <a:pt x="10212577" y="1822665"/>
                  <a:pt x="10317035" y="2123378"/>
                  <a:pt x="10197655" y="2407063"/>
                </a:cubicBezTo>
                <a:cubicBezTo>
                  <a:pt x="10177817" y="2454206"/>
                  <a:pt x="10152251" y="2499868"/>
                  <a:pt x="10121437" y="2543792"/>
                </a:cubicBezTo>
                <a:lnTo>
                  <a:pt x="10062145" y="2613321"/>
                </a:lnTo>
                <a:lnTo>
                  <a:pt x="448217" y="2613321"/>
                </a:lnTo>
                <a:lnTo>
                  <a:pt x="383984" y="2586765"/>
                </a:lnTo>
                <a:cubicBezTo>
                  <a:pt x="109867" y="2454504"/>
                  <a:pt x="-35628" y="2245167"/>
                  <a:pt x="7482" y="2031378"/>
                </a:cubicBezTo>
                <a:cubicBezTo>
                  <a:pt x="65277" y="1745305"/>
                  <a:pt x="445682" y="1521223"/>
                  <a:pt x="923676" y="1491734"/>
                </a:cubicBezTo>
                <a:cubicBezTo>
                  <a:pt x="926519" y="1486957"/>
                  <a:pt x="929598" y="1482284"/>
                  <a:pt x="932440" y="1477508"/>
                </a:cubicBezTo>
                <a:cubicBezTo>
                  <a:pt x="868250" y="1195796"/>
                  <a:pt x="1017948" y="911696"/>
                  <a:pt x="1340559" y="702567"/>
                </a:cubicBezTo>
                <a:cubicBezTo>
                  <a:pt x="1850293" y="372259"/>
                  <a:pt x="2676715" y="298638"/>
                  <a:pt x="3325962" y="525523"/>
                </a:cubicBezTo>
                <a:lnTo>
                  <a:pt x="3326311" y="525182"/>
                </a:lnTo>
                <a:lnTo>
                  <a:pt x="3324777" y="524485"/>
                </a:lnTo>
                <a:lnTo>
                  <a:pt x="3326372" y="525122"/>
                </a:lnTo>
                <a:lnTo>
                  <a:pt x="3407131" y="446107"/>
                </a:lnTo>
                <a:cubicBezTo>
                  <a:pt x="3846090" y="69978"/>
                  <a:pt x="4763230" y="9774"/>
                  <a:pt x="5327709" y="341730"/>
                </a:cubicBezTo>
                <a:lnTo>
                  <a:pt x="5336637" y="333675"/>
                </a:lnTo>
                <a:lnTo>
                  <a:pt x="5466304" y="216676"/>
                </a:lnTo>
                <a:cubicBezTo>
                  <a:pt x="5628143" y="103416"/>
                  <a:pt x="5855267" y="27465"/>
                  <a:pt x="6107706" y="6127"/>
                </a:cubicBezTo>
                <a:cubicBezTo>
                  <a:pt x="6154013" y="2207"/>
                  <a:pt x="6200313" y="192"/>
                  <a:pt x="6246326" y="13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Down Arrow 120"/>
          <p:cNvSpPr/>
          <p:nvPr/>
        </p:nvSpPr>
        <p:spPr>
          <a:xfrm>
            <a:off x="5251454" y="2946070"/>
            <a:ext cx="2565910" cy="289934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3" name="Elbow Connector 122"/>
          <p:cNvCxnSpPr>
            <a:stCxn id="64" idx="2"/>
          </p:cNvCxnSpPr>
          <p:nvPr/>
        </p:nvCxnSpPr>
        <p:spPr>
          <a:xfrm rot="16200000" flipH="1">
            <a:off x="4152157" y="1371240"/>
            <a:ext cx="236771" cy="3263781"/>
          </a:xfrm>
          <a:prstGeom prst="bentConnector2">
            <a:avLst/>
          </a:prstGeom>
          <a:ln w="15875">
            <a:solidFill>
              <a:srgbClr val="0090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25"/>
          <p:cNvCxnSpPr/>
          <p:nvPr/>
        </p:nvCxnSpPr>
        <p:spPr>
          <a:xfrm>
            <a:off x="4838657" y="2879642"/>
            <a:ext cx="1073552" cy="92554"/>
          </a:xfrm>
          <a:prstGeom prst="bentConnector3">
            <a:avLst>
              <a:gd name="adj1" fmla="val 1734"/>
            </a:avLst>
          </a:prstGeom>
          <a:ln w="15875">
            <a:solidFill>
              <a:srgbClr val="659C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Elbow Connector 128"/>
          <p:cNvCxnSpPr/>
          <p:nvPr/>
        </p:nvCxnSpPr>
        <p:spPr>
          <a:xfrm rot="10800000" flipV="1">
            <a:off x="7176893" y="2854264"/>
            <a:ext cx="3196805" cy="243953"/>
          </a:xfrm>
          <a:prstGeom prst="bentConnector3">
            <a:avLst>
              <a:gd name="adj1" fmla="val -851"/>
            </a:avLst>
          </a:prstGeom>
          <a:ln w="15875">
            <a:solidFill>
              <a:srgbClr val="3AA9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/>
          <p:nvPr/>
        </p:nvCxnSpPr>
        <p:spPr>
          <a:xfrm rot="10800000" flipV="1">
            <a:off x="7150929" y="2854264"/>
            <a:ext cx="1427817" cy="167728"/>
          </a:xfrm>
          <a:prstGeom prst="bentConnector3">
            <a:avLst>
              <a:gd name="adj1" fmla="val -700"/>
            </a:avLst>
          </a:prstGeom>
          <a:ln w="15875">
            <a:solidFill>
              <a:srgbClr val="BC3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/>
        </p:nvCxnSpPr>
        <p:spPr>
          <a:xfrm>
            <a:off x="6543738" y="2816994"/>
            <a:ext cx="0" cy="182940"/>
          </a:xfrm>
          <a:prstGeom prst="line">
            <a:avLst/>
          </a:prstGeom>
          <a:ln w="12700">
            <a:solidFill>
              <a:srgbClr val="F26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374252" y="4046163"/>
            <a:ext cx="1085254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374252" y="4833111"/>
            <a:ext cx="1085254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374252" y="5473201"/>
            <a:ext cx="1085254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" name="Picture 142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6932" y="1105953"/>
            <a:ext cx="679450" cy="679450"/>
          </a:xfrm>
          <a:prstGeom prst="rect">
            <a:avLst/>
          </a:prstGeom>
        </p:spPr>
      </p:pic>
      <p:sp>
        <p:nvSpPr>
          <p:cNvPr id="68" name="NavigationTriangle">
            <a:extLst>
              <a:ext uri="{FF2B5EF4-FFF2-40B4-BE49-F238E27FC236}">
                <a16:creationId xmlns:a16="http://schemas.microsoft.com/office/drawing/2014/main" id="{BE95EBFF-A997-446E-A84A-6FE3268C52A9}"/>
              </a:ext>
            </a:extLst>
          </p:cNvPr>
          <p:cNvSpPr/>
          <p:nvPr/>
        </p:nvSpPr>
        <p:spPr>
          <a:xfrm rot="10800000">
            <a:off x="0" y="-3031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15A2B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B3B3B3"/>
              </a:clrFrom>
              <a:clrTo>
                <a:srgbClr val="B3B3B3">
                  <a:alpha val="0"/>
                </a:srgbClr>
              </a:clrTo>
            </a:clrChange>
            <a:lum bright="8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" y="138215"/>
            <a:ext cx="431538" cy="431538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9854358" y="5661090"/>
            <a:ext cx="1728042" cy="508000"/>
            <a:chOff x="9854358" y="5661090"/>
            <a:chExt cx="1728042" cy="508000"/>
          </a:xfrm>
        </p:grpSpPr>
        <p:sp>
          <p:nvSpPr>
            <p:cNvPr id="119" name="Rounded Rectangle 118"/>
            <p:cNvSpPr/>
            <p:nvPr/>
          </p:nvSpPr>
          <p:spPr>
            <a:xfrm>
              <a:off x="9854358" y="5661090"/>
              <a:ext cx="1728042" cy="508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ter deliveries</a:t>
              </a: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12" t="18508" r="23062" b="31741"/>
            <a:stretch/>
          </p:blipFill>
          <p:spPr>
            <a:xfrm>
              <a:off x="10995984" y="5743835"/>
              <a:ext cx="439228" cy="33274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8225309" y="5661090"/>
            <a:ext cx="1496012" cy="508000"/>
            <a:chOff x="8232675" y="5661090"/>
            <a:chExt cx="1496012" cy="508000"/>
          </a:xfrm>
        </p:grpSpPr>
        <p:sp>
          <p:nvSpPr>
            <p:cNvPr id="118" name="Rounded Rectangle 117"/>
            <p:cNvSpPr/>
            <p:nvPr/>
          </p:nvSpPr>
          <p:spPr>
            <a:xfrm>
              <a:off x="8232675" y="5661090"/>
              <a:ext cx="1496012" cy="508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tter ROI</a:t>
              </a: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96424" y="5740505"/>
              <a:ext cx="600530" cy="3526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5955999" y="5661090"/>
            <a:ext cx="2136273" cy="508000"/>
            <a:chOff x="5957156" y="5661090"/>
            <a:chExt cx="2136273" cy="508000"/>
          </a:xfrm>
        </p:grpSpPr>
        <p:sp>
          <p:nvSpPr>
            <p:cNvPr id="117" name="Rounded Rectangle 116"/>
            <p:cNvSpPr/>
            <p:nvPr/>
          </p:nvSpPr>
          <p:spPr>
            <a:xfrm>
              <a:off x="5957156" y="5661090"/>
              <a:ext cx="2136273" cy="508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mproved Performance</a:t>
              </a: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12480" y="5681782"/>
              <a:ext cx="440923" cy="440923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3996544" y="5661090"/>
            <a:ext cx="1826418" cy="508000"/>
            <a:chOff x="3794207" y="5661090"/>
            <a:chExt cx="1826418" cy="508000"/>
          </a:xfrm>
        </p:grpSpPr>
        <p:sp>
          <p:nvSpPr>
            <p:cNvPr id="115" name="Rounded Rectangle 114"/>
            <p:cNvSpPr/>
            <p:nvPr/>
          </p:nvSpPr>
          <p:spPr>
            <a:xfrm>
              <a:off x="3794207" y="5661090"/>
              <a:ext cx="1826418" cy="508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sightful Analytics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8124" y="5705556"/>
              <a:ext cx="454618" cy="454618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638487" y="5661090"/>
            <a:ext cx="2225020" cy="508000"/>
            <a:chOff x="1638487" y="5661090"/>
            <a:chExt cx="2225020" cy="508000"/>
          </a:xfrm>
        </p:grpSpPr>
        <p:sp>
          <p:nvSpPr>
            <p:cNvPr id="114" name="Rounded Rectangle 113"/>
            <p:cNvSpPr/>
            <p:nvPr/>
          </p:nvSpPr>
          <p:spPr>
            <a:xfrm>
              <a:off x="1638487" y="5661090"/>
              <a:ext cx="2225020" cy="508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tter Risk Management</a:t>
              </a: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758" t="25472" r="26758" b="37778"/>
            <a:stretch/>
          </p:blipFill>
          <p:spPr>
            <a:xfrm>
              <a:off x="3388210" y="5723714"/>
              <a:ext cx="467355" cy="3990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592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ounded Rectangle 74"/>
          <p:cNvSpPr/>
          <p:nvPr/>
        </p:nvSpPr>
        <p:spPr>
          <a:xfrm>
            <a:off x="1364343" y="5023159"/>
            <a:ext cx="9521371" cy="128016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IGT Cloud Testing Lab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Pre-built Accelerators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278" y="1416080"/>
            <a:ext cx="5048250" cy="296227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839327" y="3169833"/>
            <a:ext cx="20961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UD TESTING LAB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Elbow Connector 9"/>
          <p:cNvCxnSpPr>
            <a:stCxn id="29" idx="6"/>
          </p:cNvCxnSpPr>
          <p:nvPr/>
        </p:nvCxnSpPr>
        <p:spPr>
          <a:xfrm>
            <a:off x="2639769" y="3262755"/>
            <a:ext cx="1384553" cy="581890"/>
          </a:xfrm>
          <a:prstGeom prst="bentConnector3">
            <a:avLst/>
          </a:prstGeom>
          <a:ln w="127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/>
          <p:nvPr/>
        </p:nvCxnSpPr>
        <p:spPr>
          <a:xfrm flipV="1">
            <a:off x="3106443" y="1739111"/>
            <a:ext cx="2265704" cy="694487"/>
          </a:xfrm>
          <a:prstGeom prst="bentConnector3">
            <a:avLst>
              <a:gd name="adj1" fmla="val 28860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/>
          <p:cNvSpPr/>
          <p:nvPr/>
        </p:nvSpPr>
        <p:spPr>
          <a:xfrm>
            <a:off x="2535227" y="2086664"/>
            <a:ext cx="699634" cy="69963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1940135" y="2912938"/>
            <a:ext cx="699634" cy="69963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3" name="Elbow Connector 32"/>
          <p:cNvCxnSpPr/>
          <p:nvPr/>
        </p:nvCxnSpPr>
        <p:spPr>
          <a:xfrm flipV="1">
            <a:off x="6341654" y="1229508"/>
            <a:ext cx="2341223" cy="555903"/>
          </a:xfrm>
          <a:prstGeom prst="bentConnector3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/>
          <p:nvPr/>
        </p:nvCxnSpPr>
        <p:spPr>
          <a:xfrm>
            <a:off x="7512265" y="2633445"/>
            <a:ext cx="1793252" cy="186571"/>
          </a:xfrm>
          <a:prstGeom prst="bentConnector3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8899117" y="2470199"/>
            <a:ext cx="699634" cy="69963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" name="Elbow Connector 36"/>
          <p:cNvCxnSpPr/>
          <p:nvPr/>
        </p:nvCxnSpPr>
        <p:spPr>
          <a:xfrm>
            <a:off x="8215160" y="3634902"/>
            <a:ext cx="1383591" cy="575055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9484854" y="3864613"/>
            <a:ext cx="699634" cy="69963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1560286" y="4791086"/>
            <a:ext cx="9129485" cy="4641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5487366" y="4073335"/>
            <a:ext cx="0" cy="71775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5859214" y="4073335"/>
            <a:ext cx="0" cy="71775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231062" y="4073335"/>
            <a:ext cx="0" cy="71775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6602910" y="4073335"/>
            <a:ext cx="0" cy="71775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/>
          <p:cNvSpPr/>
          <p:nvPr/>
        </p:nvSpPr>
        <p:spPr>
          <a:xfrm>
            <a:off x="5391475" y="3977444"/>
            <a:ext cx="191782" cy="1917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5756566" y="3977444"/>
            <a:ext cx="191782" cy="1917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6118888" y="3964554"/>
            <a:ext cx="191782" cy="1917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val 48"/>
          <p:cNvSpPr/>
          <p:nvPr/>
        </p:nvSpPr>
        <p:spPr>
          <a:xfrm>
            <a:off x="6487898" y="3962586"/>
            <a:ext cx="191782" cy="1917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5425485" y="4769507"/>
            <a:ext cx="123761" cy="12376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146132" y="4908231"/>
            <a:ext cx="3756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GT Cloud Testing Centre of Excellence</a:t>
            </a:r>
          </a:p>
        </p:txBody>
      </p:sp>
      <p:sp>
        <p:nvSpPr>
          <p:cNvPr id="55" name="Oval 54"/>
          <p:cNvSpPr/>
          <p:nvPr/>
        </p:nvSpPr>
        <p:spPr>
          <a:xfrm>
            <a:off x="5797332" y="4772030"/>
            <a:ext cx="123761" cy="12376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6169179" y="4769676"/>
            <a:ext cx="123761" cy="12376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6536224" y="4771719"/>
            <a:ext cx="123761" cy="12376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85776" y="3073418"/>
            <a:ext cx="1539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DC63F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I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8DC63F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75180" y="2127063"/>
            <a:ext cx="192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 BROWSER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F468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908429" y="1100786"/>
            <a:ext cx="2769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OLS AND FRAMEWORK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15B2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9598751" y="2579185"/>
            <a:ext cx="15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A75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SHBOARD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9A75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0202048" y="4004234"/>
            <a:ext cx="980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ICE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1830846" y="5281933"/>
            <a:ext cx="1731437" cy="972034"/>
            <a:chOff x="1830846" y="5350345"/>
            <a:chExt cx="1731437" cy="972034"/>
          </a:xfrm>
        </p:grpSpPr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30846" y="5350345"/>
              <a:ext cx="1731437" cy="972034"/>
            </a:xfrm>
            <a:prstGeom prst="rect">
              <a:avLst/>
            </a:prstGeom>
          </p:spPr>
        </p:pic>
        <p:sp>
          <p:nvSpPr>
            <p:cNvPr id="64" name="TextBox 63"/>
            <p:cNvSpPr txBox="1"/>
            <p:nvPr/>
          </p:nvSpPr>
          <p:spPr>
            <a:xfrm>
              <a:off x="2176055" y="5882167"/>
              <a:ext cx="10615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novation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4024322" y="5223877"/>
            <a:ext cx="1741896" cy="1048090"/>
            <a:chOff x="4239295" y="5255233"/>
            <a:chExt cx="1741896" cy="1048090"/>
          </a:xfrm>
        </p:grpSpPr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9295" y="5255233"/>
              <a:ext cx="1741896" cy="1048090"/>
            </a:xfrm>
            <a:prstGeom prst="rect">
              <a:avLst/>
            </a:prstGeom>
          </p:spPr>
        </p:pic>
        <p:sp>
          <p:nvSpPr>
            <p:cNvPr id="66" name="TextBox 65"/>
            <p:cNvSpPr txBox="1"/>
            <p:nvPr/>
          </p:nvSpPr>
          <p:spPr>
            <a:xfrm>
              <a:off x="4611597" y="5729675"/>
              <a:ext cx="97552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-Usable </a:t>
              </a:r>
              <a:endPara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tefact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6228257" y="5223877"/>
            <a:ext cx="1767684" cy="1018665"/>
            <a:chOff x="6429702" y="5238479"/>
            <a:chExt cx="1767684" cy="1018665"/>
          </a:xfrm>
        </p:grpSpPr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9702" y="5238479"/>
              <a:ext cx="1767684" cy="1018665"/>
            </a:xfrm>
            <a:prstGeom prst="rect">
              <a:avLst/>
            </a:prstGeom>
          </p:spPr>
        </p:pic>
        <p:sp>
          <p:nvSpPr>
            <p:cNvPr id="68" name="TextBox 67"/>
            <p:cNvSpPr txBox="1"/>
            <p:nvPr/>
          </p:nvSpPr>
          <p:spPr>
            <a:xfrm>
              <a:off x="6858419" y="5839942"/>
              <a:ext cx="91025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cesses</a:t>
              </a: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8457980" y="5223877"/>
            <a:ext cx="1835059" cy="1079446"/>
            <a:chOff x="8457980" y="5223877"/>
            <a:chExt cx="1835059" cy="1079446"/>
          </a:xfrm>
        </p:grpSpPr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57980" y="5223877"/>
              <a:ext cx="1835059" cy="1079446"/>
            </a:xfrm>
            <a:prstGeom prst="rect">
              <a:avLst/>
            </a:prstGeom>
          </p:spPr>
        </p:pic>
        <p:sp>
          <p:nvSpPr>
            <p:cNvPr id="70" name="TextBox 69"/>
            <p:cNvSpPr txBox="1"/>
            <p:nvPr/>
          </p:nvSpPr>
          <p:spPr>
            <a:xfrm>
              <a:off x="8877904" y="5708888"/>
              <a:ext cx="99520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ought </a:t>
              </a:r>
              <a:endPara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eadership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78" name="Picture 7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8974" y="3081777"/>
            <a:ext cx="361956" cy="361956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0580" y="2264364"/>
            <a:ext cx="421349" cy="343400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8197386" y="893687"/>
            <a:ext cx="699634" cy="699634"/>
            <a:chOff x="8197386" y="893687"/>
            <a:chExt cx="699634" cy="699634"/>
          </a:xfrm>
        </p:grpSpPr>
        <p:sp>
          <p:nvSpPr>
            <p:cNvPr id="34" name="Oval 33"/>
            <p:cNvSpPr/>
            <p:nvPr/>
          </p:nvSpPr>
          <p:spPr>
            <a:xfrm>
              <a:off x="8197386" y="893687"/>
              <a:ext cx="699634" cy="69963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97095" y="1003838"/>
              <a:ext cx="439757" cy="439757"/>
            </a:xfrm>
            <a:prstGeom prst="rect">
              <a:avLst/>
            </a:prstGeom>
          </p:spPr>
        </p:pic>
      </p:grpSp>
      <p:pic>
        <p:nvPicPr>
          <p:cNvPr id="81" name="Picture 8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592" y="2642337"/>
            <a:ext cx="548685" cy="390081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636" y="3982281"/>
            <a:ext cx="474684" cy="401108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4011" y="2326024"/>
            <a:ext cx="780308" cy="780308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5011" y="5407596"/>
            <a:ext cx="417744" cy="417744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281" y="5360351"/>
            <a:ext cx="430092" cy="430092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431" y="5445457"/>
            <a:ext cx="416095" cy="416095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3424" y="5374464"/>
            <a:ext cx="364186" cy="381195"/>
          </a:xfrm>
          <a:prstGeom prst="rect">
            <a:avLst/>
          </a:prstGeom>
        </p:spPr>
      </p:pic>
      <p:sp>
        <p:nvSpPr>
          <p:cNvPr id="76" name="NavigationTriangle">
            <a:extLst>
              <a:ext uri="{FF2B5EF4-FFF2-40B4-BE49-F238E27FC236}">
                <a16:creationId xmlns:a16="http://schemas.microsoft.com/office/drawing/2014/main" id="{BE95EBFF-A997-446E-A84A-6FE3268C52A9}"/>
              </a:ext>
            </a:extLst>
          </p:cNvPr>
          <p:cNvSpPr/>
          <p:nvPr/>
        </p:nvSpPr>
        <p:spPr>
          <a:xfrm rot="10800000">
            <a:off x="0" y="-3031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15A2B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7" name="Picture 76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B3B3B3"/>
              </a:clrFrom>
              <a:clrTo>
                <a:srgbClr val="B3B3B3">
                  <a:alpha val="0"/>
                </a:srgbClr>
              </a:clrTo>
            </a:clrChange>
            <a:lum bright="8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" y="138215"/>
            <a:ext cx="431538" cy="43153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187293" y="526770"/>
            <a:ext cx="2475191" cy="530398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>
            <a:off x="539230" y="2384638"/>
            <a:ext cx="1994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rome, Firefox, IE11, Safari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e Browse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362577" y="3458245"/>
            <a:ext cx="19944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ion of UI, Integration, Component, Servi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8964779" y="1518510"/>
            <a:ext cx="2588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 Data Generators, Processes, Re-usable artifacts, Assets, Plugi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9609983" y="2842819"/>
            <a:ext cx="19944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lligent Reports, Customized Dashboard, Tracking KPIs and SLA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10228754" y="4220071"/>
            <a:ext cx="1994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ysical devices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ulato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966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solidFill>
                  <a:schemeClr val="tx2"/>
                </a:solidFill>
              </a:rPr>
              <a:t>Our Alliances and Partner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… </a:t>
            </a:r>
            <a:r>
              <a:rPr lang="en-IN" dirty="0" smtClean="0">
                <a:solidFill>
                  <a:schemeClr val="accent1"/>
                </a:solidFill>
              </a:rPr>
              <a:t>staying ahead of the curve complementing strengths of IGT and our partners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950" y="1879174"/>
            <a:ext cx="1638300" cy="5238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0765" y="1812499"/>
            <a:ext cx="1695450" cy="6381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4260" y="1812499"/>
            <a:ext cx="2019300" cy="5905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4271" y="1879174"/>
            <a:ext cx="1886481" cy="547688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609600" y="2653048"/>
            <a:ext cx="1798749" cy="184167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708335" y="2705630"/>
            <a:ext cx="170001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est Auto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erformance Engine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Model Based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24" name="Rounded Rectangle 23"/>
          <p:cNvSpPr/>
          <p:nvPr/>
        </p:nvSpPr>
        <p:spPr>
          <a:xfrm>
            <a:off x="3157067" y="2653044"/>
            <a:ext cx="1798749" cy="184167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ounded Rectangle 24"/>
          <p:cNvSpPr/>
          <p:nvPr/>
        </p:nvSpPr>
        <p:spPr>
          <a:xfrm>
            <a:off x="5704536" y="2653046"/>
            <a:ext cx="1798749" cy="184167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ounded Rectangle 25"/>
          <p:cNvSpPr/>
          <p:nvPr/>
        </p:nvSpPr>
        <p:spPr>
          <a:xfrm>
            <a:off x="8252003" y="2678799"/>
            <a:ext cx="1798749" cy="184167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3255804" y="2799419"/>
            <a:ext cx="170001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erformance Engine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erformance as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Shift left – Load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28" name="TextBox 27"/>
          <p:cNvSpPr txBox="1"/>
          <p:nvPr/>
        </p:nvSpPr>
        <p:spPr>
          <a:xfrm>
            <a:off x="5753904" y="2799419"/>
            <a:ext cx="170001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utomation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I/ML en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loud ba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Smart Analy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29" name="TextBox 28"/>
          <p:cNvSpPr txBox="1"/>
          <p:nvPr/>
        </p:nvSpPr>
        <p:spPr>
          <a:xfrm>
            <a:off x="8350740" y="2799418"/>
            <a:ext cx="17000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zure DevOp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Issu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est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uto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95615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9"/>
          <p:cNvSpPr/>
          <p:nvPr/>
        </p:nvSpPr>
        <p:spPr>
          <a:xfrm>
            <a:off x="327545" y="5472753"/>
            <a:ext cx="11505063" cy="86056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We support multiple Engagement Models basis your business need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>
                <a:solidFill>
                  <a:schemeClr val="accent1"/>
                </a:solidFill>
              </a:rPr>
              <a:t>Delivery Units and KPI’s for assured quality deliverie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60120" y="1810794"/>
          <a:ext cx="1357767" cy="336961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577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4376">
                <a:tc>
                  <a:txBody>
                    <a:bodyPr/>
                    <a:lstStyle/>
                    <a:p>
                      <a:r>
                        <a:rPr lang="en-US" sz="1050" dirty="0"/>
                        <a:t>Delivery Units</a:t>
                      </a:r>
                      <a:endParaRPr lang="en-IN" sz="1050" dirty="0"/>
                    </a:p>
                  </a:txBody>
                  <a:tcPr marL="91416" marR="91416" marT="45708" marB="45708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3436">
                <a:tc>
                  <a:txBody>
                    <a:bodyPr/>
                    <a:lstStyle/>
                    <a:p>
                      <a:r>
                        <a:rPr lang="en-US" sz="1050" dirty="0"/>
                        <a:t>Time</a:t>
                      </a:r>
                      <a:r>
                        <a:rPr lang="en-US" sz="1050" baseline="0" dirty="0"/>
                        <a:t> &amp; Material</a:t>
                      </a:r>
                      <a:endParaRPr lang="en-IN" sz="1050" dirty="0"/>
                    </a:p>
                  </a:txBody>
                  <a:tcPr marL="91416" marR="91416" marT="45708" marB="45708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3436">
                <a:tc>
                  <a:txBody>
                    <a:bodyPr/>
                    <a:lstStyle/>
                    <a:p>
                      <a:r>
                        <a:rPr lang="en-IN" sz="1050" dirty="0"/>
                        <a:t>Fixe</a:t>
                      </a:r>
                      <a:r>
                        <a:rPr lang="en-IN" sz="1050" baseline="0" dirty="0"/>
                        <a:t>d Price</a:t>
                      </a:r>
                      <a:endParaRPr lang="en-IN" sz="1050" dirty="0"/>
                    </a:p>
                  </a:txBody>
                  <a:tcPr marL="91416" marR="91416" marT="45708" marB="45708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3436">
                <a:tc>
                  <a:txBody>
                    <a:bodyPr/>
                    <a:lstStyle/>
                    <a:p>
                      <a:r>
                        <a:rPr lang="en-IN" sz="1050" dirty="0"/>
                        <a:t>Scrum Teams based</a:t>
                      </a:r>
                    </a:p>
                  </a:txBody>
                  <a:tcPr marL="91416" marR="91416" marT="45708" marB="45708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748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Output</a:t>
                      </a:r>
                      <a:r>
                        <a:rPr lang="en-US" sz="1050" baseline="0" dirty="0"/>
                        <a:t> based (</a:t>
                      </a:r>
                      <a:r>
                        <a:rPr lang="en-US" sz="1050" dirty="0"/>
                        <a:t>Story Points, FP-IFPUG, FP-Mark</a:t>
                      </a:r>
                      <a:r>
                        <a:rPr lang="en-US" sz="1050" baseline="0" dirty="0"/>
                        <a:t> 2</a:t>
                      </a:r>
                      <a:endParaRPr lang="en-IN" sz="1050" dirty="0"/>
                    </a:p>
                    <a:p>
                      <a:endParaRPr lang="en-IN" sz="1050" dirty="0"/>
                    </a:p>
                  </a:txBody>
                  <a:tcPr marL="91416" marR="91416" marT="45708" marB="45708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3436">
                <a:tc>
                  <a:txBody>
                    <a:bodyPr/>
                    <a:lstStyle/>
                    <a:p>
                      <a:r>
                        <a:rPr lang="en-IN" sz="1050" dirty="0"/>
                        <a:t>T-Shirt</a:t>
                      </a:r>
                      <a:r>
                        <a:rPr lang="en-IN" sz="1050" baseline="0" dirty="0"/>
                        <a:t> Based SPE</a:t>
                      </a:r>
                      <a:endParaRPr lang="en-IN" sz="1050" dirty="0"/>
                    </a:p>
                  </a:txBody>
                  <a:tcPr marL="91416" marR="91416" marT="45708" marB="45708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7574060"/>
              </p:ext>
            </p:extLst>
          </p:nvPr>
        </p:nvGraphicFramePr>
        <p:xfrm>
          <a:off x="1876486" y="1810794"/>
          <a:ext cx="2511018" cy="346176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20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07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4436"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KPI’s</a:t>
                      </a:r>
                      <a:endParaRPr lang="en-IN" sz="1000" dirty="0"/>
                    </a:p>
                  </a:txBody>
                  <a:tcPr marL="91416" marR="91416" marT="45708" marB="45708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1600" dirty="0"/>
                    </a:p>
                  </a:txBody>
                  <a:tcPr marL="91416" marR="91416" marT="45708" marB="45708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1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Throughput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Stories / Sprint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Stories</a:t>
                      </a:r>
                      <a:r>
                        <a:rPr lang="en-US" sz="1050" kern="1200" baseline="0" dirty="0"/>
                        <a:t> / Month 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kern="1200" baseline="0" dirty="0"/>
                        <a:t>Tickets / Months </a:t>
                      </a:r>
                      <a:endParaRPr lang="en-US" sz="1050" b="0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3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Technical Debt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# Blockers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kern="1200" baseline="0" dirty="0"/>
                        <a:t># Critical </a:t>
                      </a:r>
                      <a:endParaRPr lang="en-US" sz="1050" kern="1200" dirty="0"/>
                    </a:p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Complexity 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Code</a:t>
                      </a:r>
                      <a:r>
                        <a:rPr lang="en-US" sz="1050" kern="1200" baseline="0" dirty="0"/>
                        <a:t> Duplication 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% Unit test Coverage</a:t>
                      </a:r>
                      <a:r>
                        <a:rPr lang="en-US" sz="1050" kern="1200" baseline="0" dirty="0"/>
                        <a:t> 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% Functional test coverage</a:t>
                      </a:r>
                      <a:r>
                        <a:rPr lang="en-US" sz="1050" kern="1200" baseline="0" dirty="0"/>
                        <a:t> </a:t>
                      </a:r>
                      <a:endParaRPr lang="en-US" sz="1050" b="0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984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Defects 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% Unit</a:t>
                      </a:r>
                      <a:r>
                        <a:rPr lang="en-US" sz="1050" kern="1200" baseline="0" dirty="0"/>
                        <a:t> test pass 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kern="1200" baseline="0" dirty="0"/>
                        <a:t>% Func test pass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kern="1200" baseline="0" dirty="0"/>
                        <a:t>% NFR pass 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kern="1200" baseline="0" dirty="0"/>
                        <a:t># Severity Defects</a:t>
                      </a:r>
                    </a:p>
                    <a:p>
                      <a:pPr marL="0" algn="l" defTabSz="609448" rtl="0" eaLnBrk="1" latinLnBrk="0" hangingPunct="1"/>
                      <a:r>
                        <a:rPr lang="en-US" sz="1050" b="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Calibri"/>
                        </a:rPr>
                        <a:t>Ageing</a:t>
                      </a:r>
                    </a:p>
                  </a:txBody>
                  <a:tcPr marL="9523" marR="9523" marT="9523" marB="0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038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Open Source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44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/>
                        <a:t>No non compliant</a:t>
                      </a:r>
                      <a:r>
                        <a:rPr lang="en-US" sz="1050" kern="1200" baseline="0" dirty="0"/>
                        <a:t> Open Source usage </a:t>
                      </a:r>
                      <a:endParaRPr lang="en-US" sz="105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955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Rework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44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/>
                        <a:t>% of rework in terms of size </a:t>
                      </a:r>
                      <a:endParaRPr lang="en-US" sz="105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323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Schedule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44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/>
                        <a:t>Schedule variance </a:t>
                      </a:r>
                      <a:endParaRPr lang="en-US" sz="105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8138582" y="1810794"/>
          <a:ext cx="1181463" cy="23275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14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2250">
                <a:tc>
                  <a:txBody>
                    <a:bodyPr/>
                    <a:lstStyle/>
                    <a:p>
                      <a:r>
                        <a:rPr lang="en-US" sz="1050" dirty="0"/>
                        <a:t>Delivery Units</a:t>
                      </a:r>
                      <a:endParaRPr lang="en-IN" sz="1050" dirty="0"/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446">
                <a:tc>
                  <a:txBody>
                    <a:bodyPr/>
                    <a:lstStyle/>
                    <a:p>
                      <a:r>
                        <a:rPr lang="en-US" sz="1050" dirty="0"/>
                        <a:t>Time</a:t>
                      </a:r>
                      <a:r>
                        <a:rPr lang="en-US" sz="1050" baseline="0" dirty="0"/>
                        <a:t> &amp; Material</a:t>
                      </a:r>
                      <a:endParaRPr lang="en-IN" sz="1050" dirty="0"/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446">
                <a:tc>
                  <a:txBody>
                    <a:bodyPr/>
                    <a:lstStyle/>
                    <a:p>
                      <a:r>
                        <a:rPr lang="en-IN" sz="1050" dirty="0"/>
                        <a:t>Capacity</a:t>
                      </a:r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8446">
                <a:tc>
                  <a:txBody>
                    <a:bodyPr/>
                    <a:lstStyle/>
                    <a:p>
                      <a:r>
                        <a:rPr lang="en-US" sz="1050" dirty="0"/>
                        <a:t>Volume with range</a:t>
                      </a:r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9364797" y="1810794"/>
          <a:ext cx="2340435" cy="3369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88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15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12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KPI’s</a:t>
                      </a:r>
                      <a:endParaRPr lang="en-IN" sz="1100" dirty="0"/>
                    </a:p>
                  </a:txBody>
                  <a:tcPr marL="91416" marR="91416" marT="45708" marB="45708" anchor="ctr"/>
                </a:tc>
                <a:tc hMerge="1">
                  <a:txBody>
                    <a:bodyPr/>
                    <a:lstStyle/>
                    <a:p>
                      <a:endParaRPr lang="en-IN" sz="1600" dirty="0"/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494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Response SLA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/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% responded within stipulated SLA</a:t>
                      </a:r>
                      <a:endParaRPr lang="en-US" sz="105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36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Resolution SLA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/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% resolved within stipulated SLA</a:t>
                      </a:r>
                      <a:endParaRPr lang="en-US" sz="105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371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Problem Management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/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%</a:t>
                      </a:r>
                      <a:r>
                        <a:rPr lang="en-US" sz="1050" kern="1200" baseline="0" dirty="0"/>
                        <a:t> RCA completed within stipulated time </a:t>
                      </a:r>
                      <a:endParaRPr lang="en-US" sz="105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98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Quality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/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% tickets reopened</a:t>
                      </a:r>
                    </a:p>
                    <a:p>
                      <a:pPr marL="0" marR="0" lvl="0" indent="0" algn="l" defTabSz="6094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/>
                        <a:t># of defect free releases</a:t>
                      </a:r>
                      <a:r>
                        <a:rPr lang="en-US" sz="1050" kern="1200" baseline="0" dirty="0"/>
                        <a:t> </a:t>
                      </a:r>
                      <a:endParaRPr lang="en-US" sz="1050" kern="1200" dirty="0"/>
                    </a:p>
                    <a:p>
                      <a:pPr marL="0" algn="l" defTabSz="609448" rtl="0" eaLnBrk="1" latinLnBrk="0" hangingPunct="1"/>
                      <a:r>
                        <a:rPr lang="en-US" sz="1050" kern="1200" baseline="0" dirty="0"/>
                        <a:t> </a:t>
                      </a:r>
                      <a:endParaRPr lang="en-US" sz="105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37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Backlog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/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/>
                      <a:r>
                        <a:rPr lang="en-US" sz="1050" kern="1200" dirty="0"/>
                        <a:t># days of aging</a:t>
                      </a:r>
                      <a:r>
                        <a:rPr lang="en-US" sz="1050" kern="1200" baseline="0" dirty="0"/>
                        <a:t> </a:t>
                      </a:r>
                      <a:endParaRPr lang="en-US" sz="105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4787005"/>
              </p:ext>
            </p:extLst>
          </p:nvPr>
        </p:nvGraphicFramePr>
        <p:xfrm>
          <a:off x="4536656" y="1810795"/>
          <a:ext cx="1222226" cy="338327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222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9179">
                <a:tc>
                  <a:txBody>
                    <a:bodyPr/>
                    <a:lstStyle/>
                    <a:p>
                      <a:r>
                        <a:rPr lang="en-US" sz="1050" dirty="0"/>
                        <a:t>Delivery Units</a:t>
                      </a:r>
                      <a:endParaRPr lang="en-IN" sz="1050" dirty="0"/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194">
                <a:tc>
                  <a:txBody>
                    <a:bodyPr/>
                    <a:lstStyle/>
                    <a:p>
                      <a:r>
                        <a:rPr lang="en-IN" sz="1050" dirty="0" smtClean="0"/>
                        <a:t>Managed</a:t>
                      </a:r>
                      <a:r>
                        <a:rPr lang="en-IN" sz="1050" baseline="0" dirty="0" smtClean="0"/>
                        <a:t> Services</a:t>
                      </a:r>
                      <a:endParaRPr lang="en-IN" sz="1050" dirty="0"/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194">
                <a:tc>
                  <a:txBody>
                    <a:bodyPr/>
                    <a:lstStyle/>
                    <a:p>
                      <a:r>
                        <a:rPr lang="en-US" sz="1050" dirty="0"/>
                        <a:t>Unit</a:t>
                      </a:r>
                      <a:r>
                        <a:rPr lang="en-US" sz="1050" baseline="0" dirty="0"/>
                        <a:t> Based  (</a:t>
                      </a:r>
                      <a:r>
                        <a:rPr lang="en-US" sz="1050" dirty="0"/>
                        <a:t>Test Case,</a:t>
                      </a:r>
                      <a:r>
                        <a:rPr lang="en-US" sz="1050" baseline="0" dirty="0"/>
                        <a:t> Scripts </a:t>
                      </a:r>
                      <a:r>
                        <a:rPr lang="en-US" sz="1050" baseline="0" dirty="0" smtClean="0"/>
                        <a:t>etc.)</a:t>
                      </a:r>
                      <a:endParaRPr lang="en-IN" sz="1050" dirty="0"/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194">
                <a:tc>
                  <a:txBody>
                    <a:bodyPr/>
                    <a:lstStyle/>
                    <a:p>
                      <a:r>
                        <a:rPr lang="en-IN" sz="1050" dirty="0"/>
                        <a:t>Capacity</a:t>
                      </a:r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87323">
                <a:tc>
                  <a:txBody>
                    <a:bodyPr/>
                    <a:lstStyle/>
                    <a:p>
                      <a:r>
                        <a:rPr lang="en-IN" sz="1050" dirty="0" smtClean="0"/>
                        <a:t>Value delivery</a:t>
                      </a:r>
                      <a:endParaRPr lang="en-IN" sz="1050" dirty="0"/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804674630"/>
                  </a:ext>
                </a:extLst>
              </a:tr>
              <a:tr h="6091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0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isk</a:t>
                      </a:r>
                      <a:r>
                        <a:rPr lang="en-IN" sz="105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hared</a:t>
                      </a:r>
                      <a:endParaRPr lang="en-IN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1168213"/>
              </p:ext>
            </p:extLst>
          </p:nvPr>
        </p:nvGraphicFramePr>
        <p:xfrm>
          <a:off x="5806838" y="1810794"/>
          <a:ext cx="2206503" cy="340198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369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9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5544"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KPI’s</a:t>
                      </a:r>
                      <a:endParaRPr lang="en-IN" sz="1100" dirty="0"/>
                    </a:p>
                  </a:txBody>
                  <a:tcPr marL="91416" marR="91416" marT="45708" marB="45708" anchor="ctr"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1600" dirty="0"/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79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Automation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50" kern="1200" dirty="0"/>
                        <a:t>% Automation</a:t>
                      </a:r>
                      <a:r>
                        <a:rPr lang="en-US" sz="1050" kern="1200" baseline="0" dirty="0"/>
                        <a:t> </a:t>
                      </a:r>
                      <a:r>
                        <a:rPr lang="en-US" sz="1050" kern="1200" dirty="0"/>
                        <a:t>Coverage</a:t>
                      </a:r>
                      <a:r>
                        <a:rPr lang="en-US" sz="1050" kern="1200" baseline="0" dirty="0"/>
                        <a:t> </a:t>
                      </a:r>
                      <a:endParaRPr lang="en-US" sz="1050" b="0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76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Defects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50" kern="1200" dirty="0"/>
                        <a:t>% Defect released</a:t>
                      </a:r>
                      <a:r>
                        <a:rPr lang="en-US" sz="1050" kern="1200" baseline="0" dirty="0"/>
                        <a:t> to UAT</a:t>
                      </a:r>
                    </a:p>
                    <a:p>
                      <a:pPr marL="0" algn="l" defTabSz="609448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50" kern="1200" baseline="0" dirty="0"/>
                        <a:t>% Defect release to production</a:t>
                      </a:r>
                    </a:p>
                    <a:p>
                      <a:pPr marL="0" algn="l" defTabSz="609448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50" kern="1200" baseline="0" dirty="0"/>
                        <a:t>% Defect </a:t>
                      </a:r>
                      <a:r>
                        <a:rPr lang="en-US" sz="1050" kern="1200" baseline="0" dirty="0" smtClean="0"/>
                        <a:t>prevented</a:t>
                      </a:r>
                      <a:endParaRPr lang="en-US" sz="1050" b="0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08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Schedule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50" kern="1200" dirty="0"/>
                        <a:t>Schedule variance </a:t>
                      </a:r>
                      <a:endParaRPr lang="en-US" sz="105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1806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50" u="none" strike="noStrike" dirty="0">
                          <a:effectLst/>
                        </a:rPr>
                        <a:t>Quality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3" marR="9523" marT="9523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09448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50" kern="1200" baseline="0" dirty="0"/>
                        <a:t>% Test environment availability</a:t>
                      </a:r>
                    </a:p>
                    <a:p>
                      <a:pPr marL="0" algn="l" defTabSz="609448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50" kern="1200" baseline="0" dirty="0"/>
                        <a:t>% Test data availability</a:t>
                      </a:r>
                      <a:endParaRPr lang="en-US" sz="1050" b="0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9523" marR="9523" marT="9523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736979" y="1317879"/>
            <a:ext cx="2629209" cy="415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C7C8CA">
                    <a:lumMod val="50000"/>
                  </a:srgbClr>
                </a:solidFill>
              </a:rPr>
              <a:t>Application Development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135092" y="1317879"/>
            <a:ext cx="2945199" cy="4154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1F468D"/>
                </a:solidFill>
              </a:rPr>
              <a:t>Maintenance &amp; Operation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943879" y="1331159"/>
            <a:ext cx="2364704" cy="3888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15B2A"/>
                </a:solidFill>
              </a:rPr>
              <a:t>Quality Engineering 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326" y="1282414"/>
            <a:ext cx="706131" cy="4257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573" y="1372479"/>
            <a:ext cx="492926" cy="46141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18" r="19705"/>
          <a:stretch/>
        </p:blipFill>
        <p:spPr>
          <a:xfrm>
            <a:off x="7184632" y="1272839"/>
            <a:ext cx="310647" cy="357341"/>
          </a:xfrm>
          <a:prstGeom prst="rect">
            <a:avLst/>
          </a:prstGeom>
        </p:spPr>
      </p:pic>
      <p:pic>
        <p:nvPicPr>
          <p:cNvPr id="25" name="Picture 28" descr="Image result for skills">
            <a:extLst>
              <a:ext uri="{FF2B5EF4-FFF2-40B4-BE49-F238E27FC236}">
                <a16:creationId xmlns:a16="http://schemas.microsoft.com/office/drawing/2014/main" id="{4CB1E172-2258-4277-B8D3-8D0E531383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00404" y="1392896"/>
            <a:ext cx="404391" cy="401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2" descr="Related image">
            <a:extLst>
              <a:ext uri="{FF2B5EF4-FFF2-40B4-BE49-F238E27FC236}">
                <a16:creationId xmlns:a16="http://schemas.microsoft.com/office/drawing/2014/main" id="{DEA6E937-1687-4649-9C4E-FF4B50FF9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9603" y="1261495"/>
            <a:ext cx="394159" cy="39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ounded Rectangle 2"/>
          <p:cNvSpPr/>
          <p:nvPr/>
        </p:nvSpPr>
        <p:spPr>
          <a:xfrm>
            <a:off x="460120" y="5554635"/>
            <a:ext cx="3927384" cy="68492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TextBox 3"/>
          <p:cNvSpPr txBox="1"/>
          <p:nvPr/>
        </p:nvSpPr>
        <p:spPr>
          <a:xfrm>
            <a:off x="579768" y="5666266"/>
            <a:ext cx="36880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i="1" dirty="0">
                <a:solidFill>
                  <a:schemeClr val="tx2"/>
                </a:solidFill>
                <a:cs typeface="Arial" panose="020B0604020202020204" pitchFamily="34" charset="0"/>
              </a:rPr>
              <a:t>across lifecycles </a:t>
            </a:r>
            <a:r>
              <a:rPr lang="en-GB" sz="1100" dirty="0">
                <a:cs typeface="Arial" panose="020B0604020202020204" pitchFamily="34" charset="0"/>
              </a:rPr>
              <a:t>including Water-fall, V-Model, Agile Scrum, Scaled Agile, DevOps, Kanban </a:t>
            </a:r>
            <a:endParaRPr lang="en-IN" sz="1100" dirty="0">
              <a:cs typeface="Arial" panose="020B0604020202020204" pitchFamily="34" charset="0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4512749" y="5568069"/>
            <a:ext cx="3500592" cy="68492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2" name="TextBox 51"/>
          <p:cNvSpPr txBox="1"/>
          <p:nvPr/>
        </p:nvSpPr>
        <p:spPr>
          <a:xfrm>
            <a:off x="4632397" y="5610450"/>
            <a:ext cx="32873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100" b="1" i="1" dirty="0">
                <a:solidFill>
                  <a:schemeClr val="tx2"/>
                </a:solidFill>
                <a:cs typeface="Arial" panose="020B0604020202020204" pitchFamily="34" charset="0"/>
              </a:rPr>
              <a:t>leveraging</a:t>
            </a:r>
            <a:r>
              <a:rPr lang="en-IN" sz="1100" dirty="0">
                <a:cs typeface="Arial" panose="020B0604020202020204" pitchFamily="34" charset="0"/>
              </a:rPr>
              <a:t> </a:t>
            </a:r>
            <a:r>
              <a:rPr lang="en-IN" sz="1100" b="1" i="1" dirty="0">
                <a:solidFill>
                  <a:schemeClr val="tx2"/>
                </a:solidFill>
                <a:cs typeface="Arial" panose="020B0604020202020204" pitchFamily="34" charset="0"/>
              </a:rPr>
              <a:t>industry leading best practices</a:t>
            </a:r>
            <a:r>
              <a:rPr lang="en-IN" sz="1100" dirty="0">
                <a:cs typeface="Arial" panose="020B0604020202020204" pitchFamily="34" charset="0"/>
              </a:rPr>
              <a:t> including Agile, DevOps, </a:t>
            </a:r>
            <a:r>
              <a:rPr lang="en-GB" sz="1100" dirty="0">
                <a:cs typeface="Arial" panose="020B0604020202020204" pitchFamily="34" charset="0"/>
              </a:rPr>
              <a:t>DevSecOps, TestOps,</a:t>
            </a:r>
            <a:r>
              <a:rPr lang="en-IN" sz="1100" dirty="0">
                <a:cs typeface="Arial" panose="020B0604020202020204" pitchFamily="34" charset="0"/>
              </a:rPr>
              <a:t> Lean, CMMi, TMMi, ITSM</a:t>
            </a:r>
            <a:endParaRPr lang="en-US" sz="1100" dirty="0">
              <a:cs typeface="Arial" panose="020B0604020202020204" pitchFamily="34" charset="0"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8135092" y="5542515"/>
            <a:ext cx="3570140" cy="68492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4" name="TextBox 53"/>
          <p:cNvSpPr txBox="1"/>
          <p:nvPr/>
        </p:nvSpPr>
        <p:spPr>
          <a:xfrm>
            <a:off x="8254740" y="5669535"/>
            <a:ext cx="33526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i="1" dirty="0">
                <a:solidFill>
                  <a:schemeClr val="tx2"/>
                </a:solidFill>
                <a:cs typeface="Arial" panose="020B0604020202020204" pitchFamily="34" charset="0"/>
              </a:rPr>
              <a:t>flexible</a:t>
            </a:r>
            <a:r>
              <a:rPr lang="en-US" sz="1100" dirty="0">
                <a:cs typeface="Arial" panose="020B0604020202020204" pitchFamily="34" charset="0"/>
              </a:rPr>
              <a:t> engagement &amp; </a:t>
            </a:r>
            <a:r>
              <a:rPr lang="en-US" sz="1100" b="1" i="1" dirty="0">
                <a:solidFill>
                  <a:schemeClr val="tx2"/>
                </a:solidFill>
                <a:cs typeface="Arial" panose="020B0604020202020204" pitchFamily="34" charset="0"/>
              </a:rPr>
              <a:t>pricing</a:t>
            </a:r>
            <a:r>
              <a:rPr lang="en-US" sz="1100" dirty="0">
                <a:cs typeface="Arial" panose="020B0604020202020204" pitchFamily="34" charset="0"/>
              </a:rPr>
              <a:t> models </a:t>
            </a:r>
            <a:r>
              <a:rPr lang="en-US" sz="1100" b="1" i="1" dirty="0">
                <a:solidFill>
                  <a:schemeClr val="tx2"/>
                </a:solidFill>
                <a:cs typeface="Arial" panose="020B0604020202020204" pitchFamily="34" charset="0"/>
              </a:rPr>
              <a:t>scalable</a:t>
            </a:r>
            <a:r>
              <a:rPr lang="en-US" sz="1100" dirty="0">
                <a:cs typeface="Arial" panose="020B0604020202020204" pitchFamily="34" charset="0"/>
              </a:rPr>
              <a:t> global </a:t>
            </a:r>
            <a:r>
              <a:rPr lang="en-US" sz="1100" b="1" i="1" dirty="0">
                <a:solidFill>
                  <a:schemeClr val="tx2"/>
                </a:solidFill>
                <a:cs typeface="Arial" panose="020B0604020202020204" pitchFamily="34" charset="0"/>
              </a:rPr>
              <a:t>delivery</a:t>
            </a:r>
            <a:r>
              <a:rPr lang="en-US" sz="1100" dirty="0">
                <a:cs typeface="Arial" panose="020B0604020202020204" pitchFamily="34" charset="0"/>
              </a:rPr>
              <a:t> model </a:t>
            </a:r>
          </a:p>
        </p:txBody>
      </p:sp>
    </p:spTree>
    <p:extLst>
      <p:ext uri="{BB962C8B-B14F-4D97-AF65-F5344CB8AC3E}">
        <p14:creationId xmlns:p14="http://schemas.microsoft.com/office/powerpoint/2010/main" val="397298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465" y="236298"/>
            <a:ext cx="10843937" cy="51392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 smtClean="0">
                <a:solidFill>
                  <a:schemeClr val="tx2"/>
                </a:solidFill>
              </a:rPr>
              <a:t>IGT Quality Engineering - Delivery &amp; Pricing Models Bouquet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572325" y="4027082"/>
            <a:ext cx="50627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IGT’s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unique Pricing Models coupled with stringent Project Governance &amp; complete Quality Assurance ensures that our clients get  the Best Return on Investment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-8687" y="5688150"/>
            <a:ext cx="12200687" cy="617809"/>
            <a:chOff x="-8687" y="5413830"/>
            <a:chExt cx="12200687" cy="841828"/>
          </a:xfrm>
        </p:grpSpPr>
        <p:sp>
          <p:nvSpPr>
            <p:cNvPr id="17" name="TextBox 16"/>
            <p:cNvSpPr txBox="1"/>
            <p:nvPr/>
          </p:nvSpPr>
          <p:spPr>
            <a:xfrm>
              <a:off x="-8687" y="5630718"/>
              <a:ext cx="2295615" cy="4613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ployment Model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0" y="5413830"/>
              <a:ext cx="12192000" cy="841828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2726349" y="5656376"/>
              <a:ext cx="724301" cy="4613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nsit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578635" y="5656376"/>
              <a:ext cx="909864" cy="4613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ffshor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6200474" y="5656376"/>
              <a:ext cx="1105303" cy="4613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ar shor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8333094" y="5656376"/>
              <a:ext cx="739305" cy="4613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ybrid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0571639" y="5656376"/>
              <a:ext cx="837730" cy="4613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mot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9" name="Straight Connector 18"/>
            <p:cNvCxnSpPr/>
            <p:nvPr/>
          </p:nvCxnSpPr>
          <p:spPr>
            <a:xfrm flipH="1">
              <a:off x="2351315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4243553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5792984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7818621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10155421" y="5544457"/>
              <a:ext cx="0" cy="55444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" name="Picture 43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B3B3B3"/>
              </a:clrFrom>
              <a:clrTo>
                <a:srgbClr val="B3B3B3">
                  <a:alpha val="0"/>
                </a:srgbClr>
              </a:clrTo>
            </a:clrChange>
            <a:lum bright="8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74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" y="138215"/>
            <a:ext cx="431538" cy="431538"/>
          </a:xfrm>
          <a:prstGeom prst="rect">
            <a:avLst/>
          </a:prstGeom>
        </p:spPr>
      </p:pic>
      <p:sp>
        <p:nvSpPr>
          <p:cNvPr id="46" name="Flowchart: Off-page Connector 45">
            <a:extLst>
              <a:ext uri="{FF2B5EF4-FFF2-40B4-BE49-F238E27FC236}">
                <a16:creationId xmlns:a16="http://schemas.microsoft.com/office/drawing/2014/main" id="{D9529968-7474-4CA8-BFF9-46E9C211C222}"/>
              </a:ext>
            </a:extLst>
          </p:cNvPr>
          <p:cNvSpPr/>
          <p:nvPr/>
        </p:nvSpPr>
        <p:spPr>
          <a:xfrm>
            <a:off x="738462" y="1006762"/>
            <a:ext cx="5179972" cy="612648"/>
          </a:xfrm>
          <a:prstGeom prst="flowChartOffpageConnector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lowchart: Off-page Connector 46">
            <a:extLst>
              <a:ext uri="{FF2B5EF4-FFF2-40B4-BE49-F238E27FC236}">
                <a16:creationId xmlns:a16="http://schemas.microsoft.com/office/drawing/2014/main" id="{6130EDEB-243C-4150-9960-0C6DA55EA09C}"/>
              </a:ext>
            </a:extLst>
          </p:cNvPr>
          <p:cNvSpPr/>
          <p:nvPr/>
        </p:nvSpPr>
        <p:spPr>
          <a:xfrm>
            <a:off x="6417176" y="1006762"/>
            <a:ext cx="5179972" cy="612648"/>
          </a:xfrm>
          <a:prstGeom prst="flowChartOffpageConnector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631931" y="1021479"/>
            <a:ext cx="32756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y Model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431806" y="1018535"/>
            <a:ext cx="32756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ing Model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3" name="Picture 23" descr="TD+Test scenario.png">
            <a:extLst>
              <a:ext uri="{FF2B5EF4-FFF2-40B4-BE49-F238E27FC236}">
                <a16:creationId xmlns:a16="http://schemas.microsoft.com/office/drawing/2014/main" id="{655E2278-DFBC-41D1-97DD-2237CF89F6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7" t="45203" r="24753" b="39348"/>
          <a:stretch>
            <a:fillRect/>
          </a:stretch>
        </p:blipFill>
        <p:spPr bwMode="auto">
          <a:xfrm>
            <a:off x="738462" y="1698044"/>
            <a:ext cx="3276146" cy="72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B28291D2-4F6C-4DE7-8E57-B1E9F6AF8669}"/>
              </a:ext>
            </a:extLst>
          </p:cNvPr>
          <p:cNvSpPr/>
          <p:nvPr/>
        </p:nvSpPr>
        <p:spPr>
          <a:xfrm>
            <a:off x="4164660" y="1799909"/>
            <a:ext cx="1753774" cy="5205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53344E4-CDD8-408C-8516-5CFEB52FE8CB}"/>
              </a:ext>
            </a:extLst>
          </p:cNvPr>
          <p:cNvSpPr/>
          <p:nvPr/>
        </p:nvSpPr>
        <p:spPr>
          <a:xfrm>
            <a:off x="4256100" y="1862089"/>
            <a:ext cx="15708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 Factory</a:t>
            </a:r>
          </a:p>
        </p:txBody>
      </p:sp>
      <p:pic>
        <p:nvPicPr>
          <p:cNvPr id="56" name="Picture 20" descr="engagement models.png">
            <a:extLst>
              <a:ext uri="{FF2B5EF4-FFF2-40B4-BE49-F238E27FC236}">
                <a16:creationId xmlns:a16="http://schemas.microsoft.com/office/drawing/2014/main" id="{0B53EDCA-E732-4811-B1FB-E8E2A5D69D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60" t="4439" r="24997" b="82227"/>
          <a:stretch>
            <a:fillRect/>
          </a:stretch>
        </p:blipFill>
        <p:spPr bwMode="auto">
          <a:xfrm>
            <a:off x="702542" y="2535959"/>
            <a:ext cx="3297283" cy="605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21" descr="engagement models.png">
            <a:extLst>
              <a:ext uri="{FF2B5EF4-FFF2-40B4-BE49-F238E27FC236}">
                <a16:creationId xmlns:a16="http://schemas.microsoft.com/office/drawing/2014/main" id="{83DD85EB-26E9-4D38-9A78-48C07288C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60" t="24442" r="24997" b="61113"/>
          <a:stretch>
            <a:fillRect/>
          </a:stretch>
        </p:blipFill>
        <p:spPr bwMode="auto">
          <a:xfrm>
            <a:off x="702541" y="3306234"/>
            <a:ext cx="3297283" cy="646312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58" name="Picture 22" descr="engagement models.png">
            <a:extLst>
              <a:ext uri="{FF2B5EF4-FFF2-40B4-BE49-F238E27FC236}">
                <a16:creationId xmlns:a16="http://schemas.microsoft.com/office/drawing/2014/main" id="{25FA2FE0-D004-441B-92A3-921756151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95" t="45554" r="24997" b="39998"/>
          <a:stretch>
            <a:fillRect/>
          </a:stretch>
        </p:blipFill>
        <p:spPr bwMode="auto">
          <a:xfrm>
            <a:off x="738462" y="4117764"/>
            <a:ext cx="3297283" cy="660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TextBox 21">
            <a:extLst>
              <a:ext uri="{FF2B5EF4-FFF2-40B4-BE49-F238E27FC236}">
                <a16:creationId xmlns:a16="http://schemas.microsoft.com/office/drawing/2014/main" id="{15C9D308-486E-4567-952D-C1103BB1D8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24" y="5230084"/>
            <a:ext cx="1011907" cy="277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Involvemen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AutoShape 38">
            <a:extLst>
              <a:ext uri="{FF2B5EF4-FFF2-40B4-BE49-F238E27FC236}">
                <a16:creationId xmlns:a16="http://schemas.microsoft.com/office/drawing/2014/main" id="{4C2B55EB-9EAF-4815-BF06-2B4AC7E0A2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346" y="5269619"/>
            <a:ext cx="552189" cy="198248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D9FDA5"/>
              </a:gs>
              <a:gs pos="34999">
                <a:srgbClr val="E3FEBF"/>
              </a:gs>
              <a:gs pos="100000">
                <a:srgbClr val="F4FEE6"/>
              </a:gs>
            </a:gsLst>
            <a:lin ang="5400000" scaled="1"/>
          </a:gradFill>
          <a:ln w="9525">
            <a:solidFill>
              <a:srgbClr val="97B853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IGT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AutoShape 39">
            <a:extLst>
              <a:ext uri="{FF2B5EF4-FFF2-40B4-BE49-F238E27FC236}">
                <a16:creationId xmlns:a16="http://schemas.microsoft.com/office/drawing/2014/main" id="{6EB7C752-109D-45FA-AE22-0A92EEE0D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6349" y="5280636"/>
            <a:ext cx="647916" cy="187231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A3C2FF"/>
              </a:gs>
              <a:gs pos="34999">
                <a:srgbClr val="BDD5FF"/>
              </a:gs>
              <a:gs pos="100000">
                <a:srgbClr val="E5EEFF"/>
              </a:gs>
            </a:gsLst>
            <a:lin ang="5400000" scaled="1"/>
          </a:gradFill>
          <a:ln w="9525">
            <a:solidFill>
              <a:srgbClr val="4A7DBA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DAFB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Client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251F813-EB5E-4221-AFB8-EC2F7330DC16}"/>
              </a:ext>
            </a:extLst>
          </p:cNvPr>
          <p:cNvSpPr/>
          <p:nvPr/>
        </p:nvSpPr>
        <p:spPr>
          <a:xfrm>
            <a:off x="4164660" y="2535959"/>
            <a:ext cx="1739706" cy="5205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D1FAD5B-7BF1-4016-AC8D-61CC297C65E5}"/>
              </a:ext>
            </a:extLst>
          </p:cNvPr>
          <p:cNvSpPr/>
          <p:nvPr/>
        </p:nvSpPr>
        <p:spPr>
          <a:xfrm>
            <a:off x="4164660" y="3397989"/>
            <a:ext cx="1739706" cy="5205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FB2C05C-9C42-45E2-9F31-B28FF1128628}"/>
              </a:ext>
            </a:extLst>
          </p:cNvPr>
          <p:cNvSpPr/>
          <p:nvPr/>
        </p:nvSpPr>
        <p:spPr>
          <a:xfrm>
            <a:off x="4164660" y="4187543"/>
            <a:ext cx="1739706" cy="5205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53344E4-CDD8-408C-8516-5CFEB52FE8CB}"/>
              </a:ext>
            </a:extLst>
          </p:cNvPr>
          <p:cNvSpPr/>
          <p:nvPr/>
        </p:nvSpPr>
        <p:spPr>
          <a:xfrm>
            <a:off x="4120176" y="2587020"/>
            <a:ext cx="19443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tory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53344E4-CDD8-408C-8516-5CFEB52FE8CB}"/>
              </a:ext>
            </a:extLst>
          </p:cNvPr>
          <p:cNvSpPr/>
          <p:nvPr/>
        </p:nvSpPr>
        <p:spPr>
          <a:xfrm>
            <a:off x="4256099" y="3339645"/>
            <a:ext cx="15708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ial Project Ownership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353344E4-CDD8-408C-8516-5CFEB52FE8CB}"/>
              </a:ext>
            </a:extLst>
          </p:cNvPr>
          <p:cNvSpPr/>
          <p:nvPr/>
        </p:nvSpPr>
        <p:spPr>
          <a:xfrm>
            <a:off x="4113033" y="4249324"/>
            <a:ext cx="21503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d Servic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3" name="Group 6">
            <a:extLst>
              <a:ext uri="{FF2B5EF4-FFF2-40B4-BE49-F238E27FC236}">
                <a16:creationId xmlns:a16="http://schemas.microsoft.com/office/drawing/2014/main" id="{90AD6ADF-DF1E-43EA-B992-3A91FE49C6CE}"/>
              </a:ext>
            </a:extLst>
          </p:cNvPr>
          <p:cNvGrpSpPr>
            <a:grpSpLocks/>
          </p:cNvGrpSpPr>
          <p:nvPr/>
        </p:nvGrpSpPr>
        <p:grpSpPr bwMode="auto">
          <a:xfrm>
            <a:off x="6572325" y="1980596"/>
            <a:ext cx="1990510" cy="501650"/>
            <a:chOff x="0" y="0"/>
            <a:chExt cx="2013" cy="316"/>
          </a:xfrm>
        </p:grpSpPr>
        <p:sp>
          <p:nvSpPr>
            <p:cNvPr id="75" name="AutoShape 4">
              <a:extLst>
                <a:ext uri="{FF2B5EF4-FFF2-40B4-BE49-F238E27FC236}">
                  <a16:creationId xmlns:a16="http://schemas.microsoft.com/office/drawing/2014/main" id="{108F3B4D-EA20-4D8F-93B8-E565574CF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2013" cy="316"/>
            </a:xfrm>
            <a:prstGeom prst="roundRect">
              <a:avLst>
                <a:gd name="adj" fmla="val 8866"/>
              </a:avLst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rIns="0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Text Box 108">
              <a:extLst>
                <a:ext uri="{FF2B5EF4-FFF2-40B4-BE49-F238E27FC236}">
                  <a16:creationId xmlns:a16="http://schemas.microsoft.com/office/drawing/2014/main" id="{607CDDF7-0131-4BC2-915B-2697947C4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" y="39"/>
              <a:ext cx="1950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800" b="1" i="1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  <a:sym typeface="Calibri" panose="020F0502020204030204" pitchFamily="34" charset="0"/>
                </a:rPr>
                <a:t>Time &amp; Material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6B399C4D-2082-49DD-AFB2-41892031A2F8}"/>
              </a:ext>
            </a:extLst>
          </p:cNvPr>
          <p:cNvSpPr/>
          <p:nvPr/>
        </p:nvSpPr>
        <p:spPr>
          <a:xfrm>
            <a:off x="9483347" y="2052948"/>
            <a:ext cx="23235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Crowd Sourced Pricing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91" name="Picture 20" descr="MCj04315160000[1]">
            <a:extLst>
              <a:ext uri="{FF2B5EF4-FFF2-40B4-BE49-F238E27FC236}">
                <a16:creationId xmlns:a16="http://schemas.microsoft.com/office/drawing/2014/main" id="{BB53CCF1-18D5-404B-A95E-297918B2E9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4709" y="2225865"/>
            <a:ext cx="1352550" cy="1352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2" name="Group 9">
            <a:extLst>
              <a:ext uri="{FF2B5EF4-FFF2-40B4-BE49-F238E27FC236}">
                <a16:creationId xmlns:a16="http://schemas.microsoft.com/office/drawing/2014/main" id="{39B5FC0E-52E5-4856-A2B2-5EBCF29CFA2F}"/>
              </a:ext>
            </a:extLst>
          </p:cNvPr>
          <p:cNvGrpSpPr>
            <a:grpSpLocks/>
          </p:cNvGrpSpPr>
          <p:nvPr/>
        </p:nvGrpSpPr>
        <p:grpSpPr bwMode="auto">
          <a:xfrm>
            <a:off x="6504971" y="2865920"/>
            <a:ext cx="1477242" cy="390969"/>
            <a:chOff x="-3739" y="596"/>
            <a:chExt cx="2024" cy="338"/>
          </a:xfrm>
        </p:grpSpPr>
        <p:sp>
          <p:nvSpPr>
            <p:cNvPr id="93" name="AutoShape 4">
              <a:extLst>
                <a:ext uri="{FF2B5EF4-FFF2-40B4-BE49-F238E27FC236}">
                  <a16:creationId xmlns:a16="http://schemas.microsoft.com/office/drawing/2014/main" id="{506D106A-F8F6-4B1D-8E06-2AE84B5BB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739" y="596"/>
              <a:ext cx="2013" cy="316"/>
            </a:xfrm>
            <a:prstGeom prst="roundRect">
              <a:avLst>
                <a:gd name="adj" fmla="val 8866"/>
              </a:avLst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rIns="0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Text Box 108">
              <a:extLst>
                <a:ext uri="{FF2B5EF4-FFF2-40B4-BE49-F238E27FC236}">
                  <a16:creationId xmlns:a16="http://schemas.microsoft.com/office/drawing/2014/main" id="{C3939E21-835E-4809-BB77-4FE5F2945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665" y="615"/>
              <a:ext cx="1950" cy="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800" b="1" i="1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  <a:sym typeface="Calibri" panose="020F0502020204030204" pitchFamily="34" charset="0"/>
                </a:rPr>
                <a:t>Fixed Bid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95" name="Group 9">
            <a:extLst>
              <a:ext uri="{FF2B5EF4-FFF2-40B4-BE49-F238E27FC236}">
                <a16:creationId xmlns:a16="http://schemas.microsoft.com/office/drawing/2014/main" id="{39B5FC0E-52E5-4856-A2B2-5EBCF29CFA2F}"/>
              </a:ext>
            </a:extLst>
          </p:cNvPr>
          <p:cNvGrpSpPr>
            <a:grpSpLocks/>
          </p:cNvGrpSpPr>
          <p:nvPr/>
        </p:nvGrpSpPr>
        <p:grpSpPr bwMode="auto">
          <a:xfrm>
            <a:off x="9741277" y="2838488"/>
            <a:ext cx="1932272" cy="897779"/>
            <a:chOff x="-3739" y="596"/>
            <a:chExt cx="2024" cy="578"/>
          </a:xfrm>
        </p:grpSpPr>
        <p:sp>
          <p:nvSpPr>
            <p:cNvPr id="96" name="AutoShape 4">
              <a:extLst>
                <a:ext uri="{FF2B5EF4-FFF2-40B4-BE49-F238E27FC236}">
                  <a16:creationId xmlns:a16="http://schemas.microsoft.com/office/drawing/2014/main" id="{506D106A-F8F6-4B1D-8E06-2AE84B5BB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739" y="596"/>
              <a:ext cx="2013" cy="316"/>
            </a:xfrm>
            <a:prstGeom prst="roundRect">
              <a:avLst>
                <a:gd name="adj" fmla="val 8866"/>
              </a:avLst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rIns="0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Text Box 108">
              <a:extLst>
                <a:ext uri="{FF2B5EF4-FFF2-40B4-BE49-F238E27FC236}">
                  <a16:creationId xmlns:a16="http://schemas.microsoft.com/office/drawing/2014/main" id="{C3939E21-835E-4809-BB77-4FE5F2945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665" y="615"/>
              <a:ext cx="1950" cy="5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8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  <a:sym typeface="Calibri" panose="020F0502020204030204" pitchFamily="34" charset="0"/>
                </a:rPr>
                <a:t>Fixed Capacity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98" name="Group 9">
            <a:extLst>
              <a:ext uri="{FF2B5EF4-FFF2-40B4-BE49-F238E27FC236}">
                <a16:creationId xmlns:a16="http://schemas.microsoft.com/office/drawing/2014/main" id="{39B5FC0E-52E5-4856-A2B2-5EBCF29CFA2F}"/>
              </a:ext>
            </a:extLst>
          </p:cNvPr>
          <p:cNvGrpSpPr>
            <a:grpSpLocks/>
          </p:cNvGrpSpPr>
          <p:nvPr/>
        </p:nvGrpSpPr>
        <p:grpSpPr bwMode="auto">
          <a:xfrm>
            <a:off x="7427792" y="3478715"/>
            <a:ext cx="2787033" cy="668580"/>
            <a:chOff x="-3739" y="596"/>
            <a:chExt cx="2024" cy="578"/>
          </a:xfrm>
        </p:grpSpPr>
        <p:sp>
          <p:nvSpPr>
            <p:cNvPr id="99" name="AutoShape 4">
              <a:extLst>
                <a:ext uri="{FF2B5EF4-FFF2-40B4-BE49-F238E27FC236}">
                  <a16:creationId xmlns:a16="http://schemas.microsoft.com/office/drawing/2014/main" id="{506D106A-F8F6-4B1D-8E06-2AE84B5BB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739" y="596"/>
              <a:ext cx="2013" cy="316"/>
            </a:xfrm>
            <a:prstGeom prst="roundRect">
              <a:avLst>
                <a:gd name="adj" fmla="val 8866"/>
              </a:avLst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rIns="0"/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0" name="Text Box 108">
              <a:extLst>
                <a:ext uri="{FF2B5EF4-FFF2-40B4-BE49-F238E27FC236}">
                  <a16:creationId xmlns:a16="http://schemas.microsoft.com/office/drawing/2014/main" id="{C3939E21-835E-4809-BB77-4FE5F2945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665" y="615"/>
              <a:ext cx="1950" cy="5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DAFB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8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  <a:sym typeface="Calibri" panose="020F0502020204030204" pitchFamily="34" charset="0"/>
                </a:rPr>
                <a:t>Commoditized Pricing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5688149"/>
            <a:ext cx="2310132" cy="6178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233935" y="5850277"/>
            <a:ext cx="18760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ment Model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907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0D8935B-CAFC-4714-A3A6-334566F285F0}"/>
              </a:ext>
            </a:extLst>
          </p:cNvPr>
          <p:cNvSpPr/>
          <p:nvPr/>
        </p:nvSpPr>
        <p:spPr>
          <a:xfrm>
            <a:off x="0" y="4153"/>
            <a:ext cx="12192000" cy="6858000"/>
          </a:xfrm>
          <a:prstGeom prst="rect">
            <a:avLst/>
          </a:prstGeom>
          <a:solidFill>
            <a:schemeClr val="accent1">
              <a:lumMod val="50000"/>
              <a:alpha val="88000"/>
            </a:schemeClr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3923" y="36537"/>
            <a:ext cx="10678440" cy="769481"/>
          </a:xfrm>
        </p:spPr>
        <p:txBody>
          <a:bodyPr/>
          <a:lstStyle/>
          <a:p>
            <a:r>
              <a:rPr lang="en-GB" sz="2800" dirty="0" smtClean="0"/>
              <a:t>Ensuring </a:t>
            </a:r>
            <a:r>
              <a:rPr lang="en-GB" sz="2800" dirty="0"/>
              <a:t>Commitment </a:t>
            </a:r>
            <a:r>
              <a:rPr lang="en-GB" sz="2800" dirty="0" smtClean="0"/>
              <a:t>with a </a:t>
            </a:r>
            <a:r>
              <a:rPr lang="en-GB" sz="3200" dirty="0">
                <a:solidFill>
                  <a:schemeClr val="bg1"/>
                </a:solidFill>
                <a:latin typeface="Bahnschrift" panose="020B0502040204020203" pitchFamily="34" charset="0"/>
              </a:rPr>
              <a:t>Strong Governance</a:t>
            </a:r>
            <a:r>
              <a:rPr lang="en-GB" dirty="0"/>
              <a:t> </a:t>
            </a:r>
            <a:r>
              <a:rPr lang="en-GB" sz="2800" dirty="0"/>
              <a:t>m</a:t>
            </a:r>
            <a:r>
              <a:rPr lang="en-GB" sz="2800" dirty="0" smtClean="0"/>
              <a:t>odel </a:t>
            </a:r>
          </a:p>
          <a:p>
            <a:r>
              <a:rPr lang="en-GB" sz="2400" i="1" dirty="0" smtClean="0">
                <a:solidFill>
                  <a:schemeClr val="bg1">
                    <a:lumMod val="95000"/>
                  </a:schemeClr>
                </a:solidFill>
              </a:rPr>
              <a:t>…</a:t>
            </a:r>
            <a:r>
              <a:rPr lang="en-GB" sz="2400" i="1" dirty="0">
                <a:solidFill>
                  <a:schemeClr val="bg1">
                    <a:lumMod val="95000"/>
                  </a:schemeClr>
                </a:solidFill>
              </a:rPr>
              <a:t>building foundations for a mutually beneficial &amp; growing long term relationship</a:t>
            </a:r>
          </a:p>
          <a:p>
            <a:endParaRPr lang="en-IN" sz="2800" dirty="0">
              <a:latin typeface="Bahnschrift" panose="020B0502040204020203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5360" y="122004"/>
            <a:ext cx="583735" cy="583735"/>
          </a:xfrm>
          <a:prstGeom prst="rect">
            <a:avLst/>
          </a:prstGeom>
        </p:spPr>
      </p:pic>
      <p:sp>
        <p:nvSpPr>
          <p:cNvPr id="99" name="Footer Placeholder 4"/>
          <p:cNvSpPr txBox="1">
            <a:spLocks/>
          </p:cNvSpPr>
          <p:nvPr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91" name="Rectangle 90"/>
          <p:cNvSpPr/>
          <p:nvPr/>
        </p:nvSpPr>
        <p:spPr>
          <a:xfrm rot="16200000">
            <a:off x="-520663" y="3533741"/>
            <a:ext cx="21980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Governance </a:t>
            </a: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93" name="Group 92"/>
          <p:cNvGrpSpPr/>
          <p:nvPr/>
        </p:nvGrpSpPr>
        <p:grpSpPr>
          <a:xfrm>
            <a:off x="1027901" y="1448610"/>
            <a:ext cx="10114462" cy="5174787"/>
            <a:chOff x="1322363" y="1187356"/>
            <a:chExt cx="10114462" cy="5174787"/>
          </a:xfrm>
        </p:grpSpPr>
        <p:sp>
          <p:nvSpPr>
            <p:cNvPr id="96" name="Rectangle 95"/>
            <p:cNvSpPr/>
            <p:nvPr/>
          </p:nvSpPr>
          <p:spPr>
            <a:xfrm>
              <a:off x="1322363" y="1187356"/>
              <a:ext cx="10114462" cy="5174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97" name="Straight Connector 96"/>
            <p:cNvCxnSpPr/>
            <p:nvPr/>
          </p:nvCxnSpPr>
          <p:spPr>
            <a:xfrm>
              <a:off x="2104558" y="2594350"/>
              <a:ext cx="4469663" cy="0"/>
            </a:xfrm>
            <a:prstGeom prst="line">
              <a:avLst/>
            </a:prstGeom>
            <a:ln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2104558" y="3784428"/>
              <a:ext cx="3636073" cy="0"/>
            </a:xfrm>
            <a:prstGeom prst="line">
              <a:avLst/>
            </a:prstGeom>
            <a:ln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>
              <a:off x="2104558" y="4987037"/>
              <a:ext cx="3581919" cy="0"/>
            </a:xfrm>
            <a:prstGeom prst="line">
              <a:avLst/>
            </a:prstGeom>
            <a:ln>
              <a:solidFill>
                <a:schemeClr val="accent1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01" name="Diagram 100"/>
            <p:cNvGraphicFramePr/>
            <p:nvPr>
              <p:extLst/>
            </p:nvPr>
          </p:nvGraphicFramePr>
          <p:xfrm>
            <a:off x="4280728" y="1380559"/>
            <a:ext cx="6096001" cy="480807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sp>
          <p:nvSpPr>
            <p:cNvPr id="102" name="TextBox 101"/>
            <p:cNvSpPr txBox="1"/>
            <p:nvPr/>
          </p:nvSpPr>
          <p:spPr>
            <a:xfrm>
              <a:off x="6927233" y="1962242"/>
              <a:ext cx="815617" cy="500078"/>
            </a:xfrm>
            <a:prstGeom prst="rect">
              <a:avLst/>
            </a:prstGeom>
            <a:noFill/>
          </p:spPr>
          <p:txBody>
            <a:bodyPr wrap="none" lIns="68521" tIns="34261" rIns="68521" bIns="34261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ic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view</a:t>
              </a: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6917928" y="2991532"/>
              <a:ext cx="832417" cy="500078"/>
            </a:xfrm>
            <a:prstGeom prst="rect">
              <a:avLst/>
            </a:prstGeom>
            <a:noFill/>
          </p:spPr>
          <p:txBody>
            <a:bodyPr wrap="none" lIns="68521" tIns="34261" rIns="68521" bIns="34261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xecutiv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view</a:t>
              </a: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6160396" y="4240395"/>
              <a:ext cx="2465507" cy="284635"/>
            </a:xfrm>
            <a:prstGeom prst="rect">
              <a:avLst/>
            </a:prstGeom>
            <a:noFill/>
          </p:spPr>
          <p:txBody>
            <a:bodyPr wrap="square" lIns="68521" tIns="34261" rIns="68521" bIns="34261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gram Management</a:t>
              </a: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6236596" y="5324578"/>
              <a:ext cx="2465507" cy="284635"/>
            </a:xfrm>
            <a:prstGeom prst="rect">
              <a:avLst/>
            </a:prstGeom>
            <a:noFill/>
          </p:spPr>
          <p:txBody>
            <a:bodyPr wrap="square" lIns="68521" tIns="34261" rIns="68521" bIns="34261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ject Management</a:t>
              </a: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1616272" y="1455992"/>
              <a:ext cx="274476" cy="1116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21" tIns="34261" rIns="68521" bIns="34261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1616272" y="3794225"/>
              <a:ext cx="274476" cy="1188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21" tIns="34261" rIns="68521" bIns="34261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 rot="16200000">
              <a:off x="1374941" y="4233530"/>
              <a:ext cx="757139" cy="284635"/>
            </a:xfrm>
            <a:prstGeom prst="rect">
              <a:avLst/>
            </a:prstGeom>
            <a:noFill/>
          </p:spPr>
          <p:txBody>
            <a:bodyPr wrap="none" lIns="68521" tIns="34261" rIns="68521" bIns="34261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cision</a:t>
              </a: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1616272" y="4980566"/>
              <a:ext cx="274476" cy="1188000"/>
            </a:xfrm>
            <a:prstGeom prst="rect">
              <a:avLst/>
            </a:prstGeom>
            <a:solidFill>
              <a:srgbClr val="616367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21" tIns="34261" rIns="68521" bIns="34261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TextBox 121"/>
            <p:cNvSpPr txBox="1"/>
            <p:nvPr/>
          </p:nvSpPr>
          <p:spPr>
            <a:xfrm rot="16200000">
              <a:off x="1327619" y="5431182"/>
              <a:ext cx="851781" cy="284635"/>
            </a:xfrm>
            <a:prstGeom prst="rect">
              <a:avLst/>
            </a:prstGeom>
            <a:noFill/>
          </p:spPr>
          <p:txBody>
            <a:bodyPr wrap="none" lIns="68521" tIns="34261" rIns="68521" bIns="34261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xecution</a:t>
              </a: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1616272" y="2569701"/>
              <a:ext cx="274476" cy="1224000"/>
            </a:xfrm>
            <a:prstGeom prst="rect">
              <a:avLst/>
            </a:prstGeom>
            <a:solidFill>
              <a:srgbClr val="616367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21" tIns="34261" rIns="68521" bIns="34261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 rot="16200000">
              <a:off x="1374645" y="3047152"/>
              <a:ext cx="740276" cy="284635"/>
            </a:xfrm>
            <a:prstGeom prst="rect">
              <a:avLst/>
            </a:prstGeom>
            <a:noFill/>
          </p:spPr>
          <p:txBody>
            <a:bodyPr wrap="none" lIns="68521" tIns="34261" rIns="68521" bIns="34261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y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 rot="16200000">
              <a:off x="1454648" y="1858278"/>
              <a:ext cx="584015" cy="284635"/>
            </a:xfrm>
            <a:prstGeom prst="rect">
              <a:avLst/>
            </a:prstGeom>
            <a:noFill/>
          </p:spPr>
          <p:txBody>
            <a:bodyPr wrap="none" lIns="68521" tIns="34261" rIns="68521" bIns="34261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ision</a:t>
              </a:r>
            </a:p>
          </p:txBody>
        </p:sp>
      </p:grpSp>
      <p:pic>
        <p:nvPicPr>
          <p:cNvPr id="95" name="Picture 2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5324" y="6098827"/>
            <a:ext cx="629603" cy="420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1814450" y="1960794"/>
            <a:ext cx="2080900" cy="407745"/>
          </a:xfrm>
          <a:prstGeom prst="rect">
            <a:avLst/>
          </a:prstGeom>
          <a:noFill/>
        </p:spPr>
        <p:txBody>
          <a:bodyPr wrap="non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rterly Portfolio review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F468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 Review of Engagement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814450" y="2811680"/>
            <a:ext cx="2167462" cy="915577"/>
          </a:xfrm>
          <a:prstGeom prst="rect">
            <a:avLst/>
          </a:prstGeom>
          <a:noFill/>
        </p:spPr>
        <p:txBody>
          <a:bodyPr wrap="non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tnightly / Monthly review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 objectives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ng-term planning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rics Review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inuous improvement update 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814450" y="4073437"/>
            <a:ext cx="1603205" cy="915577"/>
          </a:xfrm>
          <a:prstGeom prst="rect">
            <a:avLst/>
          </a:prstGeom>
          <a:noFill/>
        </p:spPr>
        <p:txBody>
          <a:bodyPr wrap="non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tnightly review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ks and Mitigation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 planning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ffing changes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calation managemen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814450" y="5348374"/>
            <a:ext cx="1454125" cy="746300"/>
          </a:xfrm>
          <a:prstGeom prst="rect">
            <a:avLst/>
          </a:prstGeom>
          <a:noFill/>
        </p:spPr>
        <p:txBody>
          <a:bodyPr wrap="non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ekly review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ekly planning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ks and Mitigation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ge managemen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483968" y="1652996"/>
            <a:ext cx="2326159" cy="577022"/>
          </a:xfrm>
          <a:prstGeom prst="rect">
            <a:avLst/>
          </a:prstGeom>
          <a:noFill/>
        </p:spPr>
        <p:txBody>
          <a:bodyPr wrap="non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ve Management / Leadership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ount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15B2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121939" y="2912915"/>
            <a:ext cx="1940691" cy="577022"/>
          </a:xfrm>
          <a:prstGeom prst="rect">
            <a:avLst/>
          </a:prstGeom>
          <a:noFill/>
        </p:spPr>
        <p:txBody>
          <a:bodyPr wrap="squar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 - Digital Engineering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y Head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shore Delivery Manager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15B2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918158" y="4079129"/>
            <a:ext cx="1272986" cy="407745"/>
          </a:xfrm>
          <a:prstGeom prst="rect">
            <a:avLst/>
          </a:prstGeom>
          <a:noFill/>
        </p:spPr>
        <p:txBody>
          <a:bodyPr wrap="non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y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846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 Manager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3313809" y="5329042"/>
            <a:ext cx="1342858" cy="577022"/>
          </a:xfrm>
          <a:prstGeom prst="rect">
            <a:avLst/>
          </a:prstGeom>
          <a:noFill/>
        </p:spPr>
        <p:txBody>
          <a:bodyPr wrap="squar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 Manager(s)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eam Lead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846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7327153" y="1605566"/>
            <a:ext cx="2326159" cy="577022"/>
          </a:xfrm>
          <a:prstGeom prst="rect">
            <a:avLst/>
          </a:prstGeom>
          <a:noFill/>
        </p:spPr>
        <p:txBody>
          <a:bodyPr wrap="non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ve Management /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dership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nsor(S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846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Senior Managemen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087475" y="2873776"/>
            <a:ext cx="2563403" cy="407745"/>
          </a:xfrm>
          <a:prstGeom prst="rect">
            <a:avLst/>
          </a:prstGeom>
          <a:noFill/>
        </p:spPr>
        <p:txBody>
          <a:bodyPr wrap="non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Delivery Executives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4846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Portfolio /</a:t>
            </a:r>
            <a:r>
              <a:rPr kumimoji="0" lang="en-GB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gram Managers 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4846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775718" y="4143892"/>
            <a:ext cx="1414051" cy="577022"/>
          </a:xfrm>
          <a:prstGeom prst="rect">
            <a:avLst/>
          </a:prstGeom>
          <a:noFill/>
        </p:spPr>
        <p:txBody>
          <a:bodyPr wrap="non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r(s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846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 Managers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846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9693108" y="5311739"/>
            <a:ext cx="1322751" cy="746300"/>
          </a:xfrm>
          <a:prstGeom prst="rect">
            <a:avLst/>
          </a:prstGeom>
          <a:noFill/>
        </p:spPr>
        <p:txBody>
          <a:bodyPr wrap="square" lIns="68521" tIns="34261" rIns="68521" bIns="34261" rtlCol="0">
            <a:spAutoFit/>
          </a:bodyPr>
          <a:lstStyle/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 Manager(s)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E’s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Team</a:t>
            </a:r>
          </a:p>
          <a:p>
            <a:pPr marL="96306" marR="0" lvl="0" indent="-963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846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C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846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0082267" y="6178939"/>
            <a:ext cx="811642" cy="238468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none" lIns="68521" tIns="34261" rIns="68521" bIns="34261" rtlCol="0">
            <a:spAutoFit/>
          </a:bodyPr>
          <a:lstStyle/>
          <a:p>
            <a:pPr>
              <a:defRPr/>
            </a:pPr>
            <a:r>
              <a:rPr lang="en-US" sz="1100" b="1" dirty="0" smtClean="0">
                <a:solidFill>
                  <a:schemeClr val="bg1"/>
                </a:solidFill>
              </a:rPr>
              <a:t>CUSTOMER</a:t>
            </a:r>
            <a:endParaRPr lang="en-US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724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4784" y="3271082"/>
            <a:ext cx="6530915" cy="870796"/>
          </a:xfrm>
        </p:spPr>
        <p:txBody>
          <a:bodyPr/>
          <a:lstStyle/>
          <a:p>
            <a:r>
              <a:rPr lang="en-US" dirty="0"/>
              <a:t>Key Engagement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4912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ving Customers Across the Glob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Key </a:t>
            </a:r>
            <a:r>
              <a:rPr lang="en-US" dirty="0"/>
              <a:t>Engagements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>
                <a:solidFill>
                  <a:srgbClr val="414042"/>
                </a:solidFill>
                <a:latin typeface="Calibri"/>
              </a:rPr>
              <a:pPr/>
              <a:t>19</a:t>
            </a:fld>
            <a:endParaRPr lang="en-US" dirty="0">
              <a:solidFill>
                <a:srgbClr val="414042"/>
              </a:solidFill>
              <a:latin typeface="Calibri"/>
            </a:endParaRPr>
          </a:p>
        </p:txBody>
      </p:sp>
      <p:sp>
        <p:nvSpPr>
          <p:cNvPr id="65" name="NavigationTriangle">
            <a:extLst>
              <a:ext uri="{FF2B5EF4-FFF2-40B4-BE49-F238E27FC236}">
                <a16:creationId xmlns:a16="http://schemas.microsoft.com/office/drawing/2014/main" id="{BE95EBFF-A997-446E-A84A-6FE3268C52A9}"/>
              </a:ext>
            </a:extLst>
          </p:cNvPr>
          <p:cNvSpPr/>
          <p:nvPr/>
        </p:nvSpPr>
        <p:spPr>
          <a:xfrm rot="10800000">
            <a:off x="-39757" y="-31385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15A2B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8" name="NavigationIcon">
            <a:extLst>
              <a:ext uri="{FF2B5EF4-FFF2-40B4-BE49-F238E27FC236}">
                <a16:creationId xmlns:a16="http://schemas.microsoft.com/office/drawing/2014/main" id="{E21F6912-100F-49F3-B7FB-A624BAED2262}"/>
              </a:ext>
            </a:extLst>
          </p:cNvPr>
          <p:cNvSpPr>
            <a:spLocks noChangeAspect="1"/>
          </p:cNvSpPr>
          <p:nvPr/>
        </p:nvSpPr>
        <p:spPr bwMode="auto">
          <a:xfrm>
            <a:off x="115486" y="132877"/>
            <a:ext cx="366214" cy="365760"/>
          </a:xfrm>
          <a:custGeom>
            <a:avLst/>
            <a:gdLst>
              <a:gd name="connsiteX0" fmla="*/ 594459 w 1279525"/>
              <a:gd name="connsiteY0" fmla="*/ 1135460 h 1277938"/>
              <a:gd name="connsiteX1" fmla="*/ 739064 w 1279525"/>
              <a:gd name="connsiteY1" fmla="*/ 1206183 h 1277938"/>
              <a:gd name="connsiteX2" fmla="*/ 736927 w 1279525"/>
              <a:gd name="connsiteY2" fmla="*/ 1209755 h 1277938"/>
              <a:gd name="connsiteX3" fmla="*/ 640048 w 1279525"/>
              <a:gd name="connsiteY3" fmla="*/ 1217613 h 1277938"/>
              <a:gd name="connsiteX4" fmla="*/ 523937 w 1279525"/>
              <a:gd name="connsiteY4" fmla="*/ 1206183 h 1277938"/>
              <a:gd name="connsiteX5" fmla="*/ 462676 w 1279525"/>
              <a:gd name="connsiteY5" fmla="*/ 1189753 h 1277938"/>
              <a:gd name="connsiteX6" fmla="*/ 461963 w 1279525"/>
              <a:gd name="connsiteY6" fmla="*/ 1189753 h 1277938"/>
              <a:gd name="connsiteX7" fmla="*/ 594459 w 1279525"/>
              <a:gd name="connsiteY7" fmla="*/ 1135460 h 1277938"/>
              <a:gd name="connsiteX8" fmla="*/ 960086 w 1279525"/>
              <a:gd name="connsiteY8" fmla="*/ 865188 h 1277938"/>
              <a:gd name="connsiteX9" fmla="*/ 960800 w 1279525"/>
              <a:gd name="connsiteY9" fmla="*/ 865188 h 1277938"/>
              <a:gd name="connsiteX10" fmla="*/ 975791 w 1279525"/>
              <a:gd name="connsiteY10" fmla="*/ 959203 h 1277938"/>
              <a:gd name="connsiteX11" fmla="*/ 915828 w 1279525"/>
              <a:gd name="connsiteY11" fmla="*/ 984843 h 1277938"/>
              <a:gd name="connsiteX12" fmla="*/ 914400 w 1279525"/>
              <a:gd name="connsiteY12" fmla="*/ 981994 h 1277938"/>
              <a:gd name="connsiteX13" fmla="*/ 925108 w 1279525"/>
              <a:gd name="connsiteY13" fmla="*/ 901512 h 1277938"/>
              <a:gd name="connsiteX14" fmla="*/ 960086 w 1279525"/>
              <a:gd name="connsiteY14" fmla="*/ 865188 h 1277938"/>
              <a:gd name="connsiteX15" fmla="*/ 68883 w 1279525"/>
              <a:gd name="connsiteY15" fmla="*/ 554038 h 1277938"/>
              <a:gd name="connsiteX16" fmla="*/ 141632 w 1279525"/>
              <a:gd name="connsiteY16" fmla="*/ 613442 h 1277938"/>
              <a:gd name="connsiteX17" fmla="*/ 218661 w 1279525"/>
              <a:gd name="connsiteY17" fmla="*/ 773046 h 1277938"/>
              <a:gd name="connsiteX18" fmla="*/ 230072 w 1279525"/>
              <a:gd name="connsiteY18" fmla="*/ 920483 h 1277938"/>
              <a:gd name="connsiteX19" fmla="*/ 230072 w 1279525"/>
              <a:gd name="connsiteY19" fmla="*/ 921915 h 1277938"/>
              <a:gd name="connsiteX20" fmla="*/ 247903 w 1279525"/>
              <a:gd name="connsiteY20" fmla="*/ 1059332 h 1277938"/>
              <a:gd name="connsiteX21" fmla="*/ 243623 w 1279525"/>
              <a:gd name="connsiteY21" fmla="*/ 1061479 h 1277938"/>
              <a:gd name="connsiteX22" fmla="*/ 60325 w 1279525"/>
              <a:gd name="connsiteY22" fmla="*/ 639208 h 1277938"/>
              <a:gd name="connsiteX23" fmla="*/ 66031 w 1279525"/>
              <a:gd name="connsiteY23" fmla="*/ 556185 h 1277938"/>
              <a:gd name="connsiteX24" fmla="*/ 68883 w 1279525"/>
              <a:gd name="connsiteY24" fmla="*/ 554038 h 1277938"/>
              <a:gd name="connsiteX25" fmla="*/ 357733 w 1279525"/>
              <a:gd name="connsiteY25" fmla="*/ 136368 h 1277938"/>
              <a:gd name="connsiteX26" fmla="*/ 361306 w 1279525"/>
              <a:gd name="connsiteY26" fmla="*/ 138513 h 1277938"/>
              <a:gd name="connsiteX27" fmla="*/ 378456 w 1279525"/>
              <a:gd name="connsiteY27" fmla="*/ 222868 h 1277938"/>
              <a:gd name="connsiteX28" fmla="*/ 334152 w 1279525"/>
              <a:gd name="connsiteY28" fmla="*/ 364414 h 1277938"/>
              <a:gd name="connsiteX29" fmla="*/ 198386 w 1279525"/>
              <a:gd name="connsiteY29" fmla="*/ 435188 h 1277938"/>
              <a:gd name="connsiteX30" fmla="*/ 92631 w 1279525"/>
              <a:gd name="connsiteY30" fmla="*/ 459493 h 1277938"/>
              <a:gd name="connsiteX31" fmla="*/ 91202 w 1279525"/>
              <a:gd name="connsiteY31" fmla="*/ 456634 h 1277938"/>
              <a:gd name="connsiteX32" fmla="*/ 94061 w 1279525"/>
              <a:gd name="connsiteY32" fmla="*/ 446626 h 1277938"/>
              <a:gd name="connsiteX33" fmla="*/ 357733 w 1279525"/>
              <a:gd name="connsiteY33" fmla="*/ 136368 h 1277938"/>
              <a:gd name="connsiteX34" fmla="*/ 639970 w 1279525"/>
              <a:gd name="connsiteY34" fmla="*/ 61913 h 1277938"/>
              <a:gd name="connsiteX35" fmla="*/ 1117753 w 1279525"/>
              <a:gd name="connsiteY35" fmla="*/ 314503 h 1277938"/>
              <a:gd name="connsiteX36" fmla="*/ 1202613 w 1279525"/>
              <a:gd name="connsiteY36" fmla="*/ 504302 h 1277938"/>
              <a:gd name="connsiteX37" fmla="*/ 1202613 w 1279525"/>
              <a:gd name="connsiteY37" fmla="*/ 506443 h 1277938"/>
              <a:gd name="connsiteX38" fmla="*/ 1201187 w 1279525"/>
              <a:gd name="connsiteY38" fmla="*/ 509297 h 1277938"/>
              <a:gd name="connsiteX39" fmla="*/ 1146991 w 1279525"/>
              <a:gd name="connsiteY39" fmla="*/ 579936 h 1277938"/>
              <a:gd name="connsiteX40" fmla="*/ 1091368 w 1279525"/>
              <a:gd name="connsiteY40" fmla="*/ 579936 h 1277938"/>
              <a:gd name="connsiteX41" fmla="*/ 1027901 w 1279525"/>
              <a:gd name="connsiteY41" fmla="*/ 532843 h 1277938"/>
              <a:gd name="connsiteX42" fmla="*/ 1026475 w 1279525"/>
              <a:gd name="connsiteY42" fmla="*/ 537125 h 1277938"/>
              <a:gd name="connsiteX43" fmla="*/ 978697 w 1279525"/>
              <a:gd name="connsiteY43" fmla="*/ 640586 h 1277938"/>
              <a:gd name="connsiteX44" fmla="*/ 900968 w 1279525"/>
              <a:gd name="connsiteY44" fmla="*/ 624175 h 1277938"/>
              <a:gd name="connsiteX45" fmla="*/ 896689 w 1279525"/>
              <a:gd name="connsiteY45" fmla="*/ 627029 h 1277938"/>
              <a:gd name="connsiteX46" fmla="*/ 982262 w 1279525"/>
              <a:gd name="connsiteY46" fmla="*/ 699096 h 1277938"/>
              <a:gd name="connsiteX47" fmla="*/ 986541 w 1279525"/>
              <a:gd name="connsiteY47" fmla="*/ 699809 h 1277938"/>
              <a:gd name="connsiteX48" fmla="*/ 914517 w 1279525"/>
              <a:gd name="connsiteY48" fmla="*/ 814688 h 1277938"/>
              <a:gd name="connsiteX49" fmla="*/ 888132 w 1279525"/>
              <a:gd name="connsiteY49" fmla="*/ 945264 h 1277938"/>
              <a:gd name="connsiteX50" fmla="*/ 775461 w 1279525"/>
              <a:gd name="connsiteY50" fmla="*/ 1075840 h 1277938"/>
              <a:gd name="connsiteX51" fmla="*/ 660650 w 1279525"/>
              <a:gd name="connsiteY51" fmla="*/ 971665 h 1277938"/>
              <a:gd name="connsiteX52" fmla="*/ 639970 w 1279525"/>
              <a:gd name="connsiteY52" fmla="*/ 903166 h 1277938"/>
              <a:gd name="connsiteX53" fmla="*/ 621429 w 1279525"/>
              <a:gd name="connsiteY53" fmla="*/ 792568 h 1277938"/>
              <a:gd name="connsiteX54" fmla="*/ 618577 w 1279525"/>
              <a:gd name="connsiteY54" fmla="*/ 790428 h 1277938"/>
              <a:gd name="connsiteX55" fmla="*/ 400365 w 1279525"/>
              <a:gd name="connsiteY55" fmla="*/ 594207 h 1277938"/>
              <a:gd name="connsiteX56" fmla="*/ 518741 w 1279525"/>
              <a:gd name="connsiteY56" fmla="*/ 477901 h 1277938"/>
              <a:gd name="connsiteX57" fmla="*/ 518741 w 1279525"/>
              <a:gd name="connsiteY57" fmla="*/ 473620 h 1277938"/>
              <a:gd name="connsiteX58" fmla="*/ 506619 w 1279525"/>
              <a:gd name="connsiteY58" fmla="*/ 437230 h 1277938"/>
              <a:gd name="connsiteX59" fmla="*/ 624282 w 1279525"/>
              <a:gd name="connsiteY59" fmla="*/ 338049 h 1277938"/>
              <a:gd name="connsiteX60" fmla="*/ 625708 w 1279525"/>
              <a:gd name="connsiteY60" fmla="*/ 336622 h 1277938"/>
              <a:gd name="connsiteX61" fmla="*/ 654232 w 1279525"/>
              <a:gd name="connsiteY61" fmla="*/ 262415 h 1277938"/>
              <a:gd name="connsiteX62" fmla="*/ 742658 w 1279525"/>
              <a:gd name="connsiteY62" fmla="*/ 201052 h 1277938"/>
              <a:gd name="connsiteX63" fmla="*/ 594331 w 1279525"/>
              <a:gd name="connsiteY63" fmla="*/ 218176 h 1277938"/>
              <a:gd name="connsiteX64" fmla="*/ 459553 w 1279525"/>
              <a:gd name="connsiteY64" fmla="*/ 231733 h 1277938"/>
              <a:gd name="connsiteX65" fmla="*/ 554397 w 1279525"/>
              <a:gd name="connsiteY65" fmla="*/ 151818 h 1277938"/>
              <a:gd name="connsiteX66" fmla="*/ 555823 w 1279525"/>
              <a:gd name="connsiteY66" fmla="*/ 71189 h 1277938"/>
              <a:gd name="connsiteX67" fmla="*/ 557249 w 1279525"/>
              <a:gd name="connsiteY67" fmla="*/ 67621 h 1277938"/>
              <a:gd name="connsiteX68" fmla="*/ 639970 w 1279525"/>
              <a:gd name="connsiteY68" fmla="*/ 61913 h 1277938"/>
              <a:gd name="connsiteX69" fmla="*/ 639763 w 1279525"/>
              <a:gd name="connsiteY69" fmla="*/ 31750 h 1277938"/>
              <a:gd name="connsiteX70" fmla="*/ 210158 w 1279525"/>
              <a:gd name="connsiteY70" fmla="*/ 210367 h 1277938"/>
              <a:gd name="connsiteX71" fmla="*/ 31750 w 1279525"/>
              <a:gd name="connsiteY71" fmla="*/ 639763 h 1277938"/>
              <a:gd name="connsiteX72" fmla="*/ 210158 w 1279525"/>
              <a:gd name="connsiteY72" fmla="*/ 1069873 h 1277938"/>
              <a:gd name="connsiteX73" fmla="*/ 639763 w 1279525"/>
              <a:gd name="connsiteY73" fmla="*/ 1247775 h 1277938"/>
              <a:gd name="connsiteX74" fmla="*/ 1069368 w 1279525"/>
              <a:gd name="connsiteY74" fmla="*/ 1069873 h 1277938"/>
              <a:gd name="connsiteX75" fmla="*/ 1247775 w 1279525"/>
              <a:gd name="connsiteY75" fmla="*/ 639763 h 1277938"/>
              <a:gd name="connsiteX76" fmla="*/ 1069368 w 1279525"/>
              <a:gd name="connsiteY76" fmla="*/ 210367 h 1277938"/>
              <a:gd name="connsiteX77" fmla="*/ 639763 w 1279525"/>
              <a:gd name="connsiteY77" fmla="*/ 31750 h 1277938"/>
              <a:gd name="connsiteX78" fmla="*/ 639763 w 1279525"/>
              <a:gd name="connsiteY78" fmla="*/ 0 h 1277938"/>
              <a:gd name="connsiteX79" fmla="*/ 1091738 w 1279525"/>
              <a:gd name="connsiteY79" fmla="*/ 187764 h 1277938"/>
              <a:gd name="connsiteX80" fmla="*/ 1279525 w 1279525"/>
              <a:gd name="connsiteY80" fmla="*/ 638969 h 1277938"/>
              <a:gd name="connsiteX81" fmla="*/ 1091738 w 1279525"/>
              <a:gd name="connsiteY81" fmla="*/ 1090888 h 1277938"/>
              <a:gd name="connsiteX82" fmla="*/ 639763 w 1279525"/>
              <a:gd name="connsiteY82" fmla="*/ 1277938 h 1277938"/>
              <a:gd name="connsiteX83" fmla="*/ 187788 w 1279525"/>
              <a:gd name="connsiteY83" fmla="*/ 1090888 h 1277938"/>
              <a:gd name="connsiteX84" fmla="*/ 0 w 1279525"/>
              <a:gd name="connsiteY84" fmla="*/ 638969 h 1277938"/>
              <a:gd name="connsiteX85" fmla="*/ 187788 w 1279525"/>
              <a:gd name="connsiteY85" fmla="*/ 187050 h 1277938"/>
              <a:gd name="connsiteX86" fmla="*/ 639763 w 1279525"/>
              <a:gd name="connsiteY86" fmla="*/ 0 h 1277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79525" h="1277938">
                <a:moveTo>
                  <a:pt x="594459" y="1135460"/>
                </a:moveTo>
                <a:cubicBezTo>
                  <a:pt x="659994" y="1139746"/>
                  <a:pt x="699885" y="1136889"/>
                  <a:pt x="739064" y="1206183"/>
                </a:cubicBezTo>
                <a:cubicBezTo>
                  <a:pt x="739776" y="1207612"/>
                  <a:pt x="738352" y="1209755"/>
                  <a:pt x="736927" y="1209755"/>
                </a:cubicBezTo>
                <a:cubicBezTo>
                  <a:pt x="705584" y="1214756"/>
                  <a:pt x="672816" y="1217613"/>
                  <a:pt x="640048" y="1217613"/>
                </a:cubicBezTo>
                <a:cubicBezTo>
                  <a:pt x="600157" y="1217613"/>
                  <a:pt x="560979" y="1214041"/>
                  <a:pt x="523937" y="1206183"/>
                </a:cubicBezTo>
                <a:cubicBezTo>
                  <a:pt x="491882" y="1198325"/>
                  <a:pt x="468374" y="1191181"/>
                  <a:pt x="462676" y="1189753"/>
                </a:cubicBezTo>
                <a:cubicBezTo>
                  <a:pt x="461963" y="1189753"/>
                  <a:pt x="461963" y="1189753"/>
                  <a:pt x="461963" y="1189753"/>
                </a:cubicBezTo>
                <a:cubicBezTo>
                  <a:pt x="462676" y="1189038"/>
                  <a:pt x="528923" y="1131888"/>
                  <a:pt x="594459" y="1135460"/>
                </a:cubicBezTo>
                <a:close/>
                <a:moveTo>
                  <a:pt x="960086" y="865188"/>
                </a:moveTo>
                <a:cubicBezTo>
                  <a:pt x="960800" y="865188"/>
                  <a:pt x="960800" y="865188"/>
                  <a:pt x="960800" y="865188"/>
                </a:cubicBezTo>
                <a:cubicBezTo>
                  <a:pt x="1020763" y="875159"/>
                  <a:pt x="1004345" y="915044"/>
                  <a:pt x="975791" y="959203"/>
                </a:cubicBezTo>
                <a:cubicBezTo>
                  <a:pt x="951520" y="996951"/>
                  <a:pt x="922966" y="988404"/>
                  <a:pt x="915828" y="984843"/>
                </a:cubicBezTo>
                <a:cubicBezTo>
                  <a:pt x="914400" y="984131"/>
                  <a:pt x="914400" y="983419"/>
                  <a:pt x="914400" y="981994"/>
                </a:cubicBezTo>
                <a:cubicBezTo>
                  <a:pt x="916542" y="972735"/>
                  <a:pt x="925108" y="930714"/>
                  <a:pt x="925108" y="901512"/>
                </a:cubicBezTo>
                <a:cubicBezTo>
                  <a:pt x="925108" y="870886"/>
                  <a:pt x="955803" y="865188"/>
                  <a:pt x="960086" y="865188"/>
                </a:cubicBezTo>
                <a:close/>
                <a:moveTo>
                  <a:pt x="68883" y="554038"/>
                </a:moveTo>
                <a:cubicBezTo>
                  <a:pt x="87427" y="556185"/>
                  <a:pt x="129508" y="566921"/>
                  <a:pt x="141632" y="613442"/>
                </a:cubicBezTo>
                <a:cubicBezTo>
                  <a:pt x="156610" y="672847"/>
                  <a:pt x="178720" y="748712"/>
                  <a:pt x="218661" y="773046"/>
                </a:cubicBezTo>
                <a:cubicBezTo>
                  <a:pt x="257175" y="795949"/>
                  <a:pt x="231499" y="912611"/>
                  <a:pt x="230072" y="920483"/>
                </a:cubicBezTo>
                <a:cubicBezTo>
                  <a:pt x="229359" y="921199"/>
                  <a:pt x="229359" y="921199"/>
                  <a:pt x="230072" y="921915"/>
                </a:cubicBezTo>
                <a:cubicBezTo>
                  <a:pt x="230072" y="921915"/>
                  <a:pt x="230072" y="921915"/>
                  <a:pt x="247903" y="1059332"/>
                </a:cubicBezTo>
                <a:cubicBezTo>
                  <a:pt x="247903" y="1061479"/>
                  <a:pt x="245050" y="1063626"/>
                  <a:pt x="243623" y="1061479"/>
                </a:cubicBezTo>
                <a:cubicBezTo>
                  <a:pt x="130934" y="955553"/>
                  <a:pt x="60325" y="805969"/>
                  <a:pt x="60325" y="639208"/>
                </a:cubicBezTo>
                <a:cubicBezTo>
                  <a:pt x="60325" y="611295"/>
                  <a:pt x="62464" y="583382"/>
                  <a:pt x="66031" y="556185"/>
                </a:cubicBezTo>
                <a:cubicBezTo>
                  <a:pt x="66031" y="554754"/>
                  <a:pt x="67457" y="554038"/>
                  <a:pt x="68883" y="554038"/>
                </a:cubicBezTo>
                <a:close/>
                <a:moveTo>
                  <a:pt x="357733" y="136368"/>
                </a:moveTo>
                <a:cubicBezTo>
                  <a:pt x="359162" y="134938"/>
                  <a:pt x="361306" y="136368"/>
                  <a:pt x="361306" y="138513"/>
                </a:cubicBezTo>
                <a:cubicBezTo>
                  <a:pt x="361306" y="150665"/>
                  <a:pt x="362021" y="188554"/>
                  <a:pt x="378456" y="222868"/>
                </a:cubicBezTo>
                <a:cubicBezTo>
                  <a:pt x="398463" y="265046"/>
                  <a:pt x="387030" y="359410"/>
                  <a:pt x="334152" y="364414"/>
                </a:cubicBezTo>
                <a:cubicBezTo>
                  <a:pt x="280560" y="368704"/>
                  <a:pt x="214106" y="393010"/>
                  <a:pt x="198386" y="435188"/>
                </a:cubicBezTo>
                <a:cubicBezTo>
                  <a:pt x="184810" y="473076"/>
                  <a:pt x="108352" y="462353"/>
                  <a:pt x="92631" y="459493"/>
                </a:cubicBezTo>
                <a:cubicBezTo>
                  <a:pt x="91202" y="459493"/>
                  <a:pt x="90488" y="458064"/>
                  <a:pt x="91202" y="456634"/>
                </a:cubicBezTo>
                <a:cubicBezTo>
                  <a:pt x="91202" y="454489"/>
                  <a:pt x="92631" y="450915"/>
                  <a:pt x="94061" y="446626"/>
                </a:cubicBezTo>
                <a:cubicBezTo>
                  <a:pt x="141221" y="314373"/>
                  <a:pt x="235543" y="204281"/>
                  <a:pt x="357733" y="136368"/>
                </a:cubicBezTo>
                <a:close/>
                <a:moveTo>
                  <a:pt x="639970" y="61913"/>
                </a:moveTo>
                <a:cubicBezTo>
                  <a:pt x="838214" y="61913"/>
                  <a:pt x="1013639" y="161807"/>
                  <a:pt x="1117753" y="314503"/>
                </a:cubicBezTo>
                <a:cubicBezTo>
                  <a:pt x="1174802" y="403694"/>
                  <a:pt x="1197621" y="486464"/>
                  <a:pt x="1202613" y="504302"/>
                </a:cubicBezTo>
                <a:cubicBezTo>
                  <a:pt x="1202613" y="505016"/>
                  <a:pt x="1202613" y="505729"/>
                  <a:pt x="1202613" y="506443"/>
                </a:cubicBezTo>
                <a:cubicBezTo>
                  <a:pt x="1203326" y="507156"/>
                  <a:pt x="1202613" y="508583"/>
                  <a:pt x="1201187" y="509297"/>
                </a:cubicBezTo>
                <a:cubicBezTo>
                  <a:pt x="1193343" y="513578"/>
                  <a:pt x="1158400" y="535697"/>
                  <a:pt x="1146991" y="579936"/>
                </a:cubicBezTo>
                <a:cubicBezTo>
                  <a:pt x="1133442" y="629170"/>
                  <a:pt x="1107056" y="622748"/>
                  <a:pt x="1091368" y="579936"/>
                </a:cubicBezTo>
                <a:cubicBezTo>
                  <a:pt x="1080671" y="549968"/>
                  <a:pt x="1047155" y="537125"/>
                  <a:pt x="1027901" y="532843"/>
                </a:cubicBezTo>
                <a:cubicBezTo>
                  <a:pt x="1025762" y="532130"/>
                  <a:pt x="1023623" y="535697"/>
                  <a:pt x="1026475" y="537125"/>
                </a:cubicBezTo>
                <a:cubicBezTo>
                  <a:pt x="1064270" y="564952"/>
                  <a:pt x="1023623" y="602056"/>
                  <a:pt x="978697" y="640586"/>
                </a:cubicBezTo>
                <a:cubicBezTo>
                  <a:pt x="945181" y="669128"/>
                  <a:pt x="915943" y="643441"/>
                  <a:pt x="900968" y="624175"/>
                </a:cubicBezTo>
                <a:cubicBezTo>
                  <a:pt x="899542" y="622035"/>
                  <a:pt x="895976" y="624175"/>
                  <a:pt x="896689" y="627029"/>
                </a:cubicBezTo>
                <a:cubicBezTo>
                  <a:pt x="935910" y="732632"/>
                  <a:pt x="972279" y="709085"/>
                  <a:pt x="982262" y="699096"/>
                </a:cubicBezTo>
                <a:cubicBezTo>
                  <a:pt x="983689" y="697669"/>
                  <a:pt x="986541" y="698382"/>
                  <a:pt x="986541" y="699809"/>
                </a:cubicBezTo>
                <a:cubicBezTo>
                  <a:pt x="999377" y="752611"/>
                  <a:pt x="936623" y="778298"/>
                  <a:pt x="914517" y="814688"/>
                </a:cubicBezTo>
                <a:cubicBezTo>
                  <a:pt x="893124" y="851792"/>
                  <a:pt x="888845" y="940983"/>
                  <a:pt x="888132" y="945264"/>
                </a:cubicBezTo>
                <a:cubicBezTo>
                  <a:pt x="887419" y="948832"/>
                  <a:pt x="874583" y="1017331"/>
                  <a:pt x="775461" y="1075840"/>
                </a:cubicBezTo>
                <a:cubicBezTo>
                  <a:pt x="674199" y="1135063"/>
                  <a:pt x="662789" y="1003060"/>
                  <a:pt x="660650" y="971665"/>
                </a:cubicBezTo>
                <a:cubicBezTo>
                  <a:pt x="658511" y="940983"/>
                  <a:pt x="658511" y="912442"/>
                  <a:pt x="639970" y="903166"/>
                </a:cubicBezTo>
                <a:cubicBezTo>
                  <a:pt x="622855" y="895317"/>
                  <a:pt x="621429" y="808266"/>
                  <a:pt x="621429" y="792568"/>
                </a:cubicBezTo>
                <a:cubicBezTo>
                  <a:pt x="621429" y="791855"/>
                  <a:pt x="620003" y="790428"/>
                  <a:pt x="618577" y="790428"/>
                </a:cubicBezTo>
                <a:cubicBezTo>
                  <a:pt x="354013" y="756892"/>
                  <a:pt x="413201" y="671268"/>
                  <a:pt x="400365" y="594207"/>
                </a:cubicBezTo>
                <a:cubicBezTo>
                  <a:pt x="389669" y="532843"/>
                  <a:pt x="480234" y="492172"/>
                  <a:pt x="518741" y="477901"/>
                </a:cubicBezTo>
                <a:cubicBezTo>
                  <a:pt x="520881" y="477188"/>
                  <a:pt x="520881" y="474334"/>
                  <a:pt x="518741" y="473620"/>
                </a:cubicBezTo>
                <a:cubicBezTo>
                  <a:pt x="513037" y="470053"/>
                  <a:pt x="507332" y="460777"/>
                  <a:pt x="506619" y="437230"/>
                </a:cubicBezTo>
                <a:cubicBezTo>
                  <a:pt x="504479" y="387283"/>
                  <a:pt x="612159" y="343044"/>
                  <a:pt x="624282" y="338049"/>
                </a:cubicBezTo>
                <a:cubicBezTo>
                  <a:pt x="624995" y="338049"/>
                  <a:pt x="625708" y="337336"/>
                  <a:pt x="625708" y="336622"/>
                </a:cubicBezTo>
                <a:cubicBezTo>
                  <a:pt x="628560" y="327347"/>
                  <a:pt x="647814" y="262415"/>
                  <a:pt x="654232" y="262415"/>
                </a:cubicBezTo>
                <a:cubicBezTo>
                  <a:pt x="660650" y="262415"/>
                  <a:pt x="760485" y="229593"/>
                  <a:pt x="742658" y="201052"/>
                </a:cubicBezTo>
                <a:cubicBezTo>
                  <a:pt x="724830" y="171797"/>
                  <a:pt x="643536" y="191776"/>
                  <a:pt x="594331" y="218176"/>
                </a:cubicBezTo>
                <a:cubicBezTo>
                  <a:pt x="545840" y="244577"/>
                  <a:pt x="473102" y="266696"/>
                  <a:pt x="459553" y="231733"/>
                </a:cubicBezTo>
                <a:cubicBezTo>
                  <a:pt x="446717" y="196057"/>
                  <a:pt x="523733" y="167516"/>
                  <a:pt x="554397" y="151818"/>
                </a:cubicBezTo>
                <a:cubicBezTo>
                  <a:pt x="580782" y="138261"/>
                  <a:pt x="560815" y="84746"/>
                  <a:pt x="555823" y="71189"/>
                </a:cubicBezTo>
                <a:cubicBezTo>
                  <a:pt x="555110" y="69762"/>
                  <a:pt x="555823" y="68335"/>
                  <a:pt x="557249" y="67621"/>
                </a:cubicBezTo>
                <a:cubicBezTo>
                  <a:pt x="584347" y="64054"/>
                  <a:pt x="612159" y="61913"/>
                  <a:pt x="639970" y="61913"/>
                </a:cubicBezTo>
                <a:close/>
                <a:moveTo>
                  <a:pt x="639763" y="31750"/>
                </a:moveTo>
                <a:cubicBezTo>
                  <a:pt x="477769" y="31750"/>
                  <a:pt x="324338" y="95338"/>
                  <a:pt x="210158" y="210367"/>
                </a:cubicBezTo>
                <a:cubicBezTo>
                  <a:pt x="94550" y="324682"/>
                  <a:pt x="31750" y="477578"/>
                  <a:pt x="31750" y="639763"/>
                </a:cubicBezTo>
                <a:cubicBezTo>
                  <a:pt x="31750" y="801947"/>
                  <a:pt x="94550" y="955558"/>
                  <a:pt x="210158" y="1069873"/>
                </a:cubicBezTo>
                <a:cubicBezTo>
                  <a:pt x="324338" y="1184902"/>
                  <a:pt x="477769" y="1247775"/>
                  <a:pt x="639763" y="1247775"/>
                </a:cubicBezTo>
                <a:cubicBezTo>
                  <a:pt x="801757" y="1247775"/>
                  <a:pt x="955187" y="1184902"/>
                  <a:pt x="1069368" y="1069873"/>
                </a:cubicBezTo>
                <a:cubicBezTo>
                  <a:pt x="1184976" y="955558"/>
                  <a:pt x="1247775" y="801947"/>
                  <a:pt x="1247775" y="639763"/>
                </a:cubicBezTo>
                <a:cubicBezTo>
                  <a:pt x="1247775" y="477578"/>
                  <a:pt x="1184976" y="324682"/>
                  <a:pt x="1069368" y="210367"/>
                </a:cubicBezTo>
                <a:cubicBezTo>
                  <a:pt x="955187" y="95338"/>
                  <a:pt x="801757" y="31750"/>
                  <a:pt x="639763" y="31750"/>
                </a:cubicBezTo>
                <a:close/>
                <a:moveTo>
                  <a:pt x="639763" y="0"/>
                </a:moveTo>
                <a:cubicBezTo>
                  <a:pt x="811128" y="0"/>
                  <a:pt x="971782" y="66396"/>
                  <a:pt x="1091738" y="187764"/>
                </a:cubicBezTo>
                <a:cubicBezTo>
                  <a:pt x="1213121" y="307705"/>
                  <a:pt x="1279525" y="468339"/>
                  <a:pt x="1279525" y="638969"/>
                </a:cubicBezTo>
                <a:cubicBezTo>
                  <a:pt x="1279525" y="810313"/>
                  <a:pt x="1213121" y="970947"/>
                  <a:pt x="1091738" y="1090888"/>
                </a:cubicBezTo>
                <a:cubicBezTo>
                  <a:pt x="971782" y="1211543"/>
                  <a:pt x="811128" y="1277938"/>
                  <a:pt x="639763" y="1277938"/>
                </a:cubicBezTo>
                <a:cubicBezTo>
                  <a:pt x="468398" y="1277938"/>
                  <a:pt x="307743" y="1211543"/>
                  <a:pt x="187788" y="1090888"/>
                </a:cubicBezTo>
                <a:cubicBezTo>
                  <a:pt x="66404" y="970947"/>
                  <a:pt x="0" y="810313"/>
                  <a:pt x="0" y="638969"/>
                </a:cubicBezTo>
                <a:cubicBezTo>
                  <a:pt x="0" y="468339"/>
                  <a:pt x="66404" y="307705"/>
                  <a:pt x="187788" y="187050"/>
                </a:cubicBezTo>
                <a:cubicBezTo>
                  <a:pt x="307743" y="66396"/>
                  <a:pt x="468398" y="0"/>
                  <a:pt x="639763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rgbClr val="F15B2A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65050" y="2921269"/>
            <a:ext cx="11474967" cy="1344636"/>
            <a:chOff x="377947" y="2980293"/>
            <a:chExt cx="11474967" cy="1344636"/>
          </a:xfrm>
        </p:grpSpPr>
        <p:grpSp>
          <p:nvGrpSpPr>
            <p:cNvPr id="10" name="Group 9"/>
            <p:cNvGrpSpPr/>
            <p:nvPr/>
          </p:nvGrpSpPr>
          <p:grpSpPr>
            <a:xfrm>
              <a:off x="8180624" y="2982159"/>
              <a:ext cx="3672290" cy="1330666"/>
              <a:chOff x="8180624" y="2998032"/>
              <a:chExt cx="3672290" cy="1330666"/>
            </a:xfrm>
          </p:grpSpPr>
          <p:grpSp>
            <p:nvGrpSpPr>
              <p:cNvPr id="26" name="Group 25"/>
              <p:cNvGrpSpPr/>
              <p:nvPr/>
            </p:nvGrpSpPr>
            <p:grpSpPr>
              <a:xfrm>
                <a:off x="8180624" y="2998032"/>
                <a:ext cx="3672290" cy="1330666"/>
                <a:chOff x="8152072" y="2998032"/>
                <a:chExt cx="3672290" cy="1330666"/>
              </a:xfrm>
            </p:grpSpPr>
            <p:sp>
              <p:nvSpPr>
                <p:cNvPr id="78" name="Rectangle 77"/>
                <p:cNvSpPr/>
                <p:nvPr/>
              </p:nvSpPr>
              <p:spPr>
                <a:xfrm>
                  <a:off x="8152072" y="2998032"/>
                  <a:ext cx="1289154" cy="1325706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8152072" y="3013022"/>
                  <a:ext cx="1289154" cy="1289154"/>
                </a:xfrm>
                <a:prstGeom prst="ellipse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8" name="Rectangle 87"/>
                <p:cNvSpPr/>
                <p:nvPr/>
              </p:nvSpPr>
              <p:spPr>
                <a:xfrm>
                  <a:off x="8152548" y="3003021"/>
                  <a:ext cx="3671814" cy="1325677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66" name="Picture 6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63657" y="3509929"/>
                <a:ext cx="883806" cy="288710"/>
              </a:xfrm>
              <a:prstGeom prst="rect">
                <a:avLst/>
              </a:prstGeom>
            </p:spPr>
          </p:pic>
        </p:grpSp>
        <p:grpSp>
          <p:nvGrpSpPr>
            <p:cNvPr id="100" name="Group 99"/>
            <p:cNvGrpSpPr/>
            <p:nvPr/>
          </p:nvGrpSpPr>
          <p:grpSpPr>
            <a:xfrm>
              <a:off x="377947" y="2980293"/>
              <a:ext cx="3671814" cy="1329378"/>
              <a:chOff x="383538" y="2980293"/>
              <a:chExt cx="3671814" cy="1329378"/>
            </a:xfrm>
          </p:grpSpPr>
          <p:sp>
            <p:nvSpPr>
              <p:cNvPr id="102" name="Rectangle 101"/>
              <p:cNvSpPr/>
              <p:nvPr/>
            </p:nvSpPr>
            <p:spPr>
              <a:xfrm>
                <a:off x="383538" y="2983041"/>
                <a:ext cx="1296649" cy="132663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Oval 102"/>
              <p:cNvSpPr/>
              <p:nvPr/>
            </p:nvSpPr>
            <p:spPr>
              <a:xfrm>
                <a:off x="398528" y="2998032"/>
                <a:ext cx="1289154" cy="1289154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Rectangle 103"/>
              <p:cNvSpPr/>
              <p:nvPr/>
            </p:nvSpPr>
            <p:spPr>
              <a:xfrm>
                <a:off x="1693911" y="2980293"/>
                <a:ext cx="2357315" cy="132343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/>
                <a:r>
                  <a:rPr lang="en-IN" sz="950" b="1" dirty="0" smtClean="0">
                    <a:solidFill>
                      <a:srgbClr val="414042"/>
                    </a:solidFill>
                  </a:rPr>
                  <a:t>Areas:</a:t>
                </a:r>
                <a:r>
                  <a:rPr lang="en-IN" sz="950" dirty="0" smtClean="0">
                    <a:solidFill>
                      <a:srgbClr val="414042"/>
                    </a:solidFill>
                  </a:rPr>
                  <a:t> Airport Systems, Immigration &amp; Border Control, electronic Visa Passenger </a:t>
                </a:r>
                <a:r>
                  <a:rPr lang="en-IN" sz="950" dirty="0">
                    <a:solidFill>
                      <a:srgbClr val="414042"/>
                    </a:solidFill>
                  </a:rPr>
                  <a:t>Handling, Hotel Statutory </a:t>
                </a:r>
                <a:r>
                  <a:rPr lang="en-IN" sz="950" dirty="0" smtClean="0">
                    <a:solidFill>
                      <a:srgbClr val="414042"/>
                    </a:solidFill>
                  </a:rPr>
                  <a:t>Compliances, Airline Systems</a:t>
                </a:r>
              </a:p>
              <a:p>
                <a:pPr algn="just"/>
                <a:endParaRPr lang="en-IN" sz="400" dirty="0" smtClean="0">
                  <a:solidFill>
                    <a:srgbClr val="414042"/>
                  </a:solidFill>
                </a:endParaRPr>
              </a:p>
              <a:p>
                <a:pPr algn="just"/>
                <a:r>
                  <a:rPr lang="en-IN" sz="950" b="1" dirty="0">
                    <a:solidFill>
                      <a:srgbClr val="414042"/>
                    </a:solidFill>
                  </a:rPr>
                  <a:t>Engagements: </a:t>
                </a:r>
                <a:r>
                  <a:rPr lang="en-IN" sz="950" dirty="0">
                    <a:solidFill>
                      <a:srgbClr val="414042"/>
                    </a:solidFill>
                  </a:rPr>
                  <a:t>Product </a:t>
                </a:r>
                <a:r>
                  <a:rPr lang="en-IN" sz="950" dirty="0" smtClean="0">
                    <a:solidFill>
                      <a:srgbClr val="414042"/>
                    </a:solidFill>
                  </a:rPr>
                  <a:t>Engineering, Security testing, </a:t>
                </a:r>
                <a:r>
                  <a:rPr lang="en-IN" sz="950" dirty="0" err="1" smtClean="0">
                    <a:solidFill>
                      <a:srgbClr val="414042"/>
                    </a:solidFill>
                  </a:rPr>
                  <a:t>DevOps</a:t>
                </a:r>
                <a:r>
                  <a:rPr lang="en-IN" sz="950" dirty="0" smtClean="0">
                    <a:solidFill>
                      <a:srgbClr val="414042"/>
                    </a:solidFill>
                  </a:rPr>
                  <a:t> alignment of quality engineering, System integration, Performance testing, Lean Testing, UAT</a:t>
                </a:r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383538" y="2982159"/>
                <a:ext cx="3671814" cy="1325677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75" name="Picture 2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CFFFF"/>
                </a:clrFrom>
                <a:clrTo>
                  <a:srgbClr val="FC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096" y="3499261"/>
              <a:ext cx="736576" cy="257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6" name="TextBox 75"/>
            <p:cNvSpPr txBox="1"/>
            <p:nvPr/>
          </p:nvSpPr>
          <p:spPr>
            <a:xfrm>
              <a:off x="610155" y="3941980"/>
              <a:ext cx="88274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50" b="1" dirty="0" smtClean="0">
                  <a:solidFill>
                    <a:srgbClr val="F15B2A"/>
                  </a:solidFill>
                </a:rPr>
                <a:t>Since: 2010</a:t>
              </a:r>
              <a:endParaRPr lang="en-GB" sz="1050" b="1" dirty="0">
                <a:solidFill>
                  <a:srgbClr val="F15B2A"/>
                </a:solidFill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4298368" y="2997149"/>
              <a:ext cx="3671814" cy="1327780"/>
              <a:chOff x="398528" y="4599386"/>
              <a:chExt cx="3671814" cy="1327780"/>
            </a:xfrm>
          </p:grpSpPr>
          <p:sp>
            <p:nvSpPr>
              <p:cNvPr id="101" name="Rectangle 100"/>
              <p:cNvSpPr/>
              <p:nvPr/>
            </p:nvSpPr>
            <p:spPr>
              <a:xfrm>
                <a:off x="402935" y="4599386"/>
                <a:ext cx="1286330" cy="1317015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Oval 105"/>
              <p:cNvSpPr/>
              <p:nvPr/>
            </p:nvSpPr>
            <p:spPr>
              <a:xfrm>
                <a:off x="408938" y="4616969"/>
                <a:ext cx="1289154" cy="1289154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1" name="Rectangle 120"/>
              <p:cNvSpPr/>
              <p:nvPr/>
            </p:nvSpPr>
            <p:spPr>
              <a:xfrm>
                <a:off x="398528" y="4601489"/>
                <a:ext cx="3671814" cy="1325677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99" name="Picture 1">
              <a:extLst>
                <a:ext uri="{FF2B5EF4-FFF2-40B4-BE49-F238E27FC236}">
                  <a16:creationId xmlns:a16="http://schemas.microsoft.com/office/drawing/2014/main" id="{554431F2-FF9D-B246-B21A-BABF20E33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140" y="3548347"/>
              <a:ext cx="1119163" cy="219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7" name="Rectangle 126"/>
            <p:cNvSpPr/>
            <p:nvPr/>
          </p:nvSpPr>
          <p:spPr>
            <a:xfrm>
              <a:off x="5598353" y="2991007"/>
              <a:ext cx="2357315" cy="11772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Areas:</a:t>
              </a:r>
              <a:r>
                <a:rPr lang="en-IN" sz="950" dirty="0" smtClean="0">
                  <a:solidFill>
                    <a:srgbClr val="414042"/>
                  </a:solidFill>
                </a:rPr>
                <a:t> Baggage, Queues, Reservations, Cargo, Crew and Pilot Pay, BSP Refunds, Social Media, Employee and Corporate Travel</a:t>
              </a:r>
            </a:p>
            <a:p>
              <a:pPr algn="just"/>
              <a:endParaRPr lang="en-IN" sz="400" dirty="0" smtClean="0">
                <a:solidFill>
                  <a:srgbClr val="414042"/>
                </a:solidFill>
              </a:endParaRPr>
            </a:p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Engagements: </a:t>
              </a:r>
              <a:r>
                <a:rPr lang="en-IN" sz="950" dirty="0" smtClean="0">
                  <a:solidFill>
                    <a:srgbClr val="414042"/>
                  </a:solidFill>
                </a:rPr>
                <a:t>Reservation system workflow validation, System Integration, Performance testing, </a:t>
              </a: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4522349" y="3963030"/>
              <a:ext cx="88274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50" b="1" dirty="0" smtClean="0">
                  <a:solidFill>
                    <a:srgbClr val="F15B2A"/>
                  </a:solidFill>
                </a:rPr>
                <a:t>Since: 2010</a:t>
              </a:r>
              <a:endParaRPr lang="en-GB" sz="1050" b="1" dirty="0">
                <a:solidFill>
                  <a:srgbClr val="F15B2A"/>
                </a:solidFill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9491478" y="3000678"/>
              <a:ext cx="2357315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Areas:</a:t>
              </a:r>
              <a:r>
                <a:rPr lang="en-IN" sz="950" dirty="0" smtClean="0">
                  <a:solidFill>
                    <a:srgbClr val="414042"/>
                  </a:solidFill>
                </a:rPr>
                <a:t> </a:t>
              </a:r>
              <a:r>
                <a:rPr lang="en-IN" sz="950" dirty="0">
                  <a:solidFill>
                    <a:srgbClr val="414042"/>
                  </a:solidFill>
                </a:rPr>
                <a:t>Sales, Inventory, Promotions, </a:t>
              </a:r>
              <a:r>
                <a:rPr lang="en-IN" sz="950" dirty="0" smtClean="0">
                  <a:solidFill>
                    <a:srgbClr val="414042"/>
                  </a:solidFill>
                </a:rPr>
                <a:t>Margins, </a:t>
              </a:r>
              <a:r>
                <a:rPr lang="en-IN" sz="950" dirty="0">
                  <a:solidFill>
                    <a:srgbClr val="414042"/>
                  </a:solidFill>
                </a:rPr>
                <a:t>Pricing, Targets &amp; Prediction on </a:t>
              </a:r>
              <a:r>
                <a:rPr lang="en-IN" sz="950" dirty="0" smtClean="0">
                  <a:solidFill>
                    <a:srgbClr val="414042"/>
                  </a:solidFill>
                </a:rPr>
                <a:t>Stocks, Infrastructure and User Management</a:t>
              </a:r>
            </a:p>
            <a:p>
              <a:pPr algn="just"/>
              <a:endParaRPr lang="en-IN" sz="400" dirty="0" smtClean="0">
                <a:solidFill>
                  <a:srgbClr val="414042"/>
                </a:solidFill>
              </a:endParaRPr>
            </a:p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Engagements: </a:t>
              </a:r>
              <a:r>
                <a:rPr lang="en-IN" sz="950" dirty="0" smtClean="0">
                  <a:solidFill>
                    <a:srgbClr val="414042"/>
                  </a:solidFill>
                </a:rPr>
                <a:t>Validation of </a:t>
              </a:r>
              <a:r>
                <a:rPr lang="en-US" sz="950" dirty="0">
                  <a:solidFill>
                    <a:srgbClr val="414042"/>
                  </a:solidFill>
                </a:rPr>
                <a:t>Business Intelligence Reporting </a:t>
              </a:r>
              <a:r>
                <a:rPr lang="en-US" sz="950" dirty="0" smtClean="0">
                  <a:solidFill>
                    <a:srgbClr val="414042"/>
                  </a:solidFill>
                </a:rPr>
                <a:t>Solution </a:t>
              </a:r>
              <a:r>
                <a:rPr lang="en-US" sz="950" kern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containing </a:t>
              </a:r>
              <a:r>
                <a:rPr lang="en-US" sz="950" kern="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Interactive </a:t>
              </a:r>
              <a:r>
                <a:rPr lang="en-US" sz="950" kern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Dashboard, </a:t>
              </a:r>
              <a:r>
                <a:rPr lang="en-US" sz="950" kern="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PDF/Excel Export Documents </a:t>
              </a: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8372909" y="3938213"/>
              <a:ext cx="88274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50" b="1" dirty="0" smtClean="0">
                  <a:solidFill>
                    <a:srgbClr val="F15B2A"/>
                  </a:solidFill>
                </a:rPr>
                <a:t>Since: 2014</a:t>
              </a:r>
              <a:endParaRPr lang="en-GB" sz="1050" b="1" dirty="0">
                <a:solidFill>
                  <a:srgbClr val="F15B2A"/>
                </a:solidFill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365050" y="1248625"/>
            <a:ext cx="11474491" cy="1363760"/>
            <a:chOff x="377947" y="4599017"/>
            <a:chExt cx="11474491" cy="1363760"/>
          </a:xfrm>
        </p:grpSpPr>
        <p:grpSp>
          <p:nvGrpSpPr>
            <p:cNvPr id="87" name="Group 86"/>
            <p:cNvGrpSpPr/>
            <p:nvPr/>
          </p:nvGrpSpPr>
          <p:grpSpPr>
            <a:xfrm>
              <a:off x="8180624" y="4608440"/>
              <a:ext cx="3671814" cy="1325677"/>
              <a:chOff x="8122568" y="4608440"/>
              <a:chExt cx="3671814" cy="1325677"/>
            </a:xfrm>
          </p:grpSpPr>
          <p:sp>
            <p:nvSpPr>
              <p:cNvPr id="150" name="Rectangle 149"/>
              <p:cNvSpPr/>
              <p:nvPr/>
            </p:nvSpPr>
            <p:spPr>
              <a:xfrm>
                <a:off x="8122568" y="4616969"/>
                <a:ext cx="1296173" cy="131164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1" name="Oval 150"/>
              <p:cNvSpPr/>
              <p:nvPr/>
            </p:nvSpPr>
            <p:spPr>
              <a:xfrm>
                <a:off x="8137082" y="4631959"/>
                <a:ext cx="1289154" cy="1289154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152" name="Picture 3" descr="C:\Users\suman.verma\Desktop\Carnival_Cruise_Line_Logo.svg.png">
                <a:extLst>
                  <a:ext uri="{FF2B5EF4-FFF2-40B4-BE49-F238E27FC236}">
                    <a16:creationId xmlns:a16="http://schemas.microsoft.com/office/drawing/2014/main" id="{FAD5AC32-8385-EA4C-9CE4-C0966B66199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75618" y="5070619"/>
                <a:ext cx="1201603" cy="3293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3" name="Rectangle 152"/>
              <p:cNvSpPr/>
              <p:nvPr/>
            </p:nvSpPr>
            <p:spPr>
              <a:xfrm>
                <a:off x="8122568" y="4608440"/>
                <a:ext cx="3671814" cy="1325677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45" name="Group 144"/>
            <p:cNvGrpSpPr/>
            <p:nvPr/>
          </p:nvGrpSpPr>
          <p:grpSpPr>
            <a:xfrm>
              <a:off x="4312882" y="4636301"/>
              <a:ext cx="3671814" cy="1325677"/>
              <a:chOff x="4190766" y="2998032"/>
              <a:chExt cx="3671814" cy="1325677"/>
            </a:xfrm>
          </p:grpSpPr>
          <p:sp>
            <p:nvSpPr>
              <p:cNvPr id="147" name="Rectangle 146"/>
              <p:cNvSpPr/>
              <p:nvPr/>
            </p:nvSpPr>
            <p:spPr>
              <a:xfrm>
                <a:off x="4190766" y="3005526"/>
                <a:ext cx="1288678" cy="1318183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8" name="Oval 147"/>
              <p:cNvSpPr/>
              <p:nvPr/>
            </p:nvSpPr>
            <p:spPr>
              <a:xfrm>
                <a:off x="4197246" y="2998032"/>
                <a:ext cx="1289154" cy="1289154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9" name="Rectangle 148"/>
              <p:cNvSpPr/>
              <p:nvPr/>
            </p:nvSpPr>
            <p:spPr>
              <a:xfrm>
                <a:off x="4190766" y="2998032"/>
                <a:ext cx="3671814" cy="1325677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2" name="Group 91"/>
            <p:cNvGrpSpPr/>
            <p:nvPr/>
          </p:nvGrpSpPr>
          <p:grpSpPr>
            <a:xfrm>
              <a:off x="377947" y="4637098"/>
              <a:ext cx="3671814" cy="1325679"/>
              <a:chOff x="377947" y="1364103"/>
              <a:chExt cx="3671814" cy="1325679"/>
            </a:xfrm>
          </p:grpSpPr>
          <p:grpSp>
            <p:nvGrpSpPr>
              <p:cNvPr id="124" name="Group 123"/>
              <p:cNvGrpSpPr/>
              <p:nvPr/>
            </p:nvGrpSpPr>
            <p:grpSpPr>
              <a:xfrm>
                <a:off x="377947" y="1364103"/>
                <a:ext cx="3671814" cy="1325679"/>
                <a:chOff x="383538" y="1364103"/>
                <a:chExt cx="3671814" cy="1325679"/>
              </a:xfrm>
            </p:grpSpPr>
            <p:sp>
              <p:nvSpPr>
                <p:cNvPr id="126" name="Rectangle 125"/>
                <p:cNvSpPr/>
                <p:nvPr/>
              </p:nvSpPr>
              <p:spPr>
                <a:xfrm>
                  <a:off x="383538" y="1364105"/>
                  <a:ext cx="3671814" cy="1325677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8" name="Rectangle 137"/>
                <p:cNvSpPr/>
                <p:nvPr/>
              </p:nvSpPr>
              <p:spPr>
                <a:xfrm>
                  <a:off x="383538" y="1364103"/>
                  <a:ext cx="1289154" cy="1325679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Oval 143"/>
                <p:cNvSpPr/>
                <p:nvPr/>
              </p:nvSpPr>
              <p:spPr>
                <a:xfrm>
                  <a:off x="384966" y="1364105"/>
                  <a:ext cx="1289154" cy="1289154"/>
                </a:xfrm>
                <a:prstGeom prst="ellipse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125" name="Picture 124" descr="C:\Users\vipul.sood\Desktop\emirates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7681" y="1711541"/>
                <a:ext cx="638327" cy="6080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7" name="Rectangle 96"/>
            <p:cNvSpPr/>
            <p:nvPr/>
          </p:nvSpPr>
          <p:spPr>
            <a:xfrm>
              <a:off x="1695924" y="4629725"/>
              <a:ext cx="2357315" cy="11772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Areas: </a:t>
              </a:r>
              <a:r>
                <a:rPr lang="en-IN" sz="950" dirty="0" smtClean="0">
                  <a:solidFill>
                    <a:srgbClr val="414042"/>
                  </a:solidFill>
                </a:rPr>
                <a:t>Airline PSS System</a:t>
              </a:r>
              <a:r>
                <a:rPr lang="en-IN" sz="950" b="1" dirty="0" smtClean="0">
                  <a:solidFill>
                    <a:srgbClr val="414042"/>
                  </a:solidFill>
                </a:rPr>
                <a:t>, </a:t>
              </a:r>
              <a:r>
                <a:rPr lang="en-IN" sz="950" dirty="0" smtClean="0">
                  <a:solidFill>
                    <a:srgbClr val="414042"/>
                  </a:solidFill>
                </a:rPr>
                <a:t>Reservations, Cargo, Loyalty, Social Media</a:t>
              </a:r>
              <a:r>
                <a:rPr lang="en-IN" sz="950" dirty="0">
                  <a:solidFill>
                    <a:srgbClr val="414042"/>
                  </a:solidFill>
                </a:rPr>
                <a:t>, </a:t>
              </a:r>
              <a:r>
                <a:rPr lang="en-IN" sz="950" dirty="0" smtClean="0">
                  <a:solidFill>
                    <a:srgbClr val="414042"/>
                  </a:solidFill>
                </a:rPr>
                <a:t>Infrastructure, Immigration</a:t>
              </a:r>
            </a:p>
            <a:p>
              <a:pPr algn="just"/>
              <a:endParaRPr lang="en-IN" sz="400" dirty="0" smtClean="0">
                <a:solidFill>
                  <a:srgbClr val="414042"/>
                </a:solidFill>
              </a:endParaRPr>
            </a:p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Engagements: </a:t>
              </a:r>
              <a:r>
                <a:rPr lang="en-IN" sz="950" dirty="0" smtClean="0">
                  <a:solidFill>
                    <a:srgbClr val="414042"/>
                  </a:solidFill>
                </a:rPr>
                <a:t>Product Validation services, Automation testing, Functional testing, Performance testing, Dashboard reporting, KPI and SLA measurement and reporting, </a:t>
              </a:r>
              <a:endParaRPr lang="en-IN" sz="950" dirty="0">
                <a:solidFill>
                  <a:srgbClr val="414042"/>
                </a:solidFill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596142" y="5630538"/>
              <a:ext cx="88274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50" b="1" dirty="0" smtClean="0">
                  <a:solidFill>
                    <a:srgbClr val="F15B2A"/>
                  </a:solidFill>
                </a:rPr>
                <a:t>Since: 2013</a:t>
              </a:r>
              <a:endParaRPr lang="en-GB" sz="1050" b="1" dirty="0">
                <a:solidFill>
                  <a:srgbClr val="F15B2A"/>
                </a:solidFill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8415143" y="5584279"/>
              <a:ext cx="88274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50" b="1" dirty="0" smtClean="0">
                  <a:solidFill>
                    <a:srgbClr val="F15B2A"/>
                  </a:solidFill>
                </a:rPr>
                <a:t>Since: 2011</a:t>
              </a:r>
              <a:endParaRPr lang="en-GB" sz="1050" b="1" dirty="0">
                <a:solidFill>
                  <a:srgbClr val="F15B2A"/>
                </a:solidFill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9484292" y="4599017"/>
              <a:ext cx="2357315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Areas:</a:t>
              </a:r>
              <a:r>
                <a:rPr lang="en-IN" sz="950" dirty="0" smtClean="0">
                  <a:solidFill>
                    <a:srgbClr val="414042"/>
                  </a:solidFill>
                </a:rPr>
                <a:t> Cruise Booking Engine, CMS, Payments, Flight Seat Booker, Time Zone Sync, Crew Flight Bookings, On-board Ancillaries such as Spa, Dining, Gifts</a:t>
              </a:r>
            </a:p>
            <a:p>
              <a:pPr algn="just"/>
              <a:endParaRPr lang="en-IN" sz="400" dirty="0" smtClean="0">
                <a:solidFill>
                  <a:srgbClr val="414042"/>
                </a:solidFill>
              </a:endParaRPr>
            </a:p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Engagements: </a:t>
              </a:r>
              <a:r>
                <a:rPr lang="en-IN" sz="950" dirty="0" smtClean="0">
                  <a:solidFill>
                    <a:srgbClr val="414042"/>
                  </a:solidFill>
                </a:rPr>
                <a:t>Product Enhancements validation, System Integrations, GDPR Compliance validation, ETL testing, Data Science, </a:t>
              </a:r>
              <a:r>
                <a:rPr lang="en-IN" sz="950" dirty="0">
                  <a:solidFill>
                    <a:srgbClr val="414042"/>
                  </a:solidFill>
                </a:rPr>
                <a:t>BI &amp; </a:t>
              </a:r>
              <a:r>
                <a:rPr lang="en-IN" sz="950" dirty="0" smtClean="0">
                  <a:solidFill>
                    <a:srgbClr val="414042"/>
                  </a:solidFill>
                </a:rPr>
                <a:t>Analytics assurance</a:t>
              </a: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5608040" y="4616969"/>
              <a:ext cx="2357315" cy="12080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Areas:</a:t>
              </a:r>
              <a:r>
                <a:rPr lang="en-IN" sz="950" dirty="0" smtClean="0">
                  <a:solidFill>
                    <a:srgbClr val="414042"/>
                  </a:solidFill>
                </a:rPr>
                <a:t> </a:t>
              </a:r>
              <a:r>
                <a:rPr lang="en-IN" sz="950" dirty="0">
                  <a:solidFill>
                    <a:srgbClr val="414042"/>
                  </a:solidFill>
                </a:rPr>
                <a:t>Reservations, Ticketing, Loyalty, Baggage, Passenger Security, Inventory, Interline through Check-in, Flight Ops, Payments, Upsell</a:t>
              </a:r>
            </a:p>
            <a:p>
              <a:pPr algn="just"/>
              <a:endParaRPr lang="en-IN" sz="600" dirty="0" smtClean="0">
                <a:solidFill>
                  <a:srgbClr val="414042"/>
                </a:solidFill>
              </a:endParaRPr>
            </a:p>
            <a:p>
              <a:r>
                <a:rPr lang="en-IN" sz="950" b="1" dirty="0" smtClean="0">
                  <a:solidFill>
                    <a:srgbClr val="414042"/>
                  </a:solidFill>
                </a:rPr>
                <a:t>Engagements: </a:t>
              </a:r>
              <a:r>
                <a:rPr lang="en-IN" sz="950" dirty="0" smtClean="0">
                  <a:solidFill>
                    <a:srgbClr val="414042"/>
                  </a:solidFill>
                </a:rPr>
                <a:t>Mainframe validation, Assurance on reservations system, Functional and Regression testing</a:t>
              </a:r>
              <a:endParaRPr lang="en-IN" sz="950" dirty="0">
                <a:solidFill>
                  <a:srgbClr val="414042"/>
                </a:solidFill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4528673" y="5549630"/>
              <a:ext cx="88274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50" b="1" dirty="0" smtClean="0">
                  <a:solidFill>
                    <a:srgbClr val="F15B2A"/>
                  </a:solidFill>
                </a:rPr>
                <a:t>Since: 2012</a:t>
              </a:r>
              <a:endParaRPr lang="en-GB" sz="1050" b="1" dirty="0">
                <a:solidFill>
                  <a:srgbClr val="F15B2A"/>
                </a:solidFill>
              </a:endParaRPr>
            </a:p>
          </p:txBody>
        </p:sp>
      </p:grpSp>
      <p:grpSp>
        <p:nvGrpSpPr>
          <p:cNvPr id="154" name="Group 153"/>
          <p:cNvGrpSpPr/>
          <p:nvPr/>
        </p:nvGrpSpPr>
        <p:grpSpPr>
          <a:xfrm>
            <a:off x="381894" y="4524532"/>
            <a:ext cx="11461768" cy="1349708"/>
            <a:chOff x="377947" y="1323364"/>
            <a:chExt cx="11461768" cy="1349708"/>
          </a:xfrm>
        </p:grpSpPr>
        <p:grpSp>
          <p:nvGrpSpPr>
            <p:cNvPr id="155" name="Group 154"/>
            <p:cNvGrpSpPr/>
            <p:nvPr/>
          </p:nvGrpSpPr>
          <p:grpSpPr>
            <a:xfrm>
              <a:off x="4298368" y="1342572"/>
              <a:ext cx="3671814" cy="1325677"/>
              <a:chOff x="4221687" y="1342572"/>
              <a:chExt cx="3671814" cy="1325677"/>
            </a:xfrm>
          </p:grpSpPr>
          <p:sp>
            <p:nvSpPr>
              <p:cNvPr id="174" name="Rectangle 173"/>
              <p:cNvSpPr/>
              <p:nvPr/>
            </p:nvSpPr>
            <p:spPr>
              <a:xfrm>
                <a:off x="4221687" y="1342572"/>
                <a:ext cx="1287198" cy="1318741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5" name="Oval 174"/>
              <p:cNvSpPr/>
              <p:nvPr/>
            </p:nvSpPr>
            <p:spPr>
              <a:xfrm>
                <a:off x="4227226" y="1364105"/>
                <a:ext cx="1289154" cy="1289154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6" name="Rectangle 175"/>
              <p:cNvSpPr/>
              <p:nvPr/>
            </p:nvSpPr>
            <p:spPr>
              <a:xfrm>
                <a:off x="4221687" y="1342572"/>
                <a:ext cx="3671814" cy="1325677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6" name="Group 155"/>
            <p:cNvGrpSpPr/>
            <p:nvPr/>
          </p:nvGrpSpPr>
          <p:grpSpPr>
            <a:xfrm>
              <a:off x="377947" y="1339103"/>
              <a:ext cx="3671814" cy="1325677"/>
              <a:chOff x="4298368" y="2998032"/>
              <a:chExt cx="3671814" cy="1325677"/>
            </a:xfrm>
          </p:grpSpPr>
          <p:grpSp>
            <p:nvGrpSpPr>
              <p:cNvPr id="169" name="Group 168"/>
              <p:cNvGrpSpPr/>
              <p:nvPr/>
            </p:nvGrpSpPr>
            <p:grpSpPr>
              <a:xfrm>
                <a:off x="4298368" y="2998032"/>
                <a:ext cx="3671814" cy="1325677"/>
                <a:chOff x="4190766" y="2998032"/>
                <a:chExt cx="3671814" cy="1325677"/>
              </a:xfrm>
            </p:grpSpPr>
            <p:sp>
              <p:nvSpPr>
                <p:cNvPr id="171" name="Rectangle 170"/>
                <p:cNvSpPr/>
                <p:nvPr/>
              </p:nvSpPr>
              <p:spPr>
                <a:xfrm>
                  <a:off x="4190766" y="3005526"/>
                  <a:ext cx="1288678" cy="1318183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72" name="Oval 171"/>
                <p:cNvSpPr/>
                <p:nvPr/>
              </p:nvSpPr>
              <p:spPr>
                <a:xfrm>
                  <a:off x="4197246" y="2998032"/>
                  <a:ext cx="1289154" cy="1289154"/>
                </a:xfrm>
                <a:prstGeom prst="ellipse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73" name="Rectangle 172"/>
                <p:cNvSpPr/>
                <p:nvPr/>
              </p:nvSpPr>
              <p:spPr>
                <a:xfrm>
                  <a:off x="4190766" y="2998032"/>
                  <a:ext cx="3671814" cy="1325677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170" name="Picture 26" descr="E:\00Data\Icons\Logos\Marriott_logo.png"/>
              <p:cNvPicPr>
                <a:picLocks noChangeAspect="1" noChangeArrowheads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58133" y="3378874"/>
                <a:ext cx="959269" cy="423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57" name="Picture 2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1119" y="1735540"/>
              <a:ext cx="1125639" cy="5170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58" name="Group 157"/>
            <p:cNvGrpSpPr/>
            <p:nvPr/>
          </p:nvGrpSpPr>
          <p:grpSpPr>
            <a:xfrm>
              <a:off x="8167901" y="1325732"/>
              <a:ext cx="3671814" cy="1325679"/>
              <a:chOff x="392937" y="1342572"/>
              <a:chExt cx="3671814" cy="1325679"/>
            </a:xfrm>
          </p:grpSpPr>
          <p:sp>
            <p:nvSpPr>
              <p:cNvPr id="165" name="Rectangle 164"/>
              <p:cNvSpPr/>
              <p:nvPr/>
            </p:nvSpPr>
            <p:spPr>
              <a:xfrm>
                <a:off x="392937" y="1342574"/>
                <a:ext cx="3671814" cy="1325677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6" name="Rectangle 165"/>
              <p:cNvSpPr/>
              <p:nvPr/>
            </p:nvSpPr>
            <p:spPr>
              <a:xfrm>
                <a:off x="392937" y="1342572"/>
                <a:ext cx="1289154" cy="132567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7" name="Oval 166"/>
              <p:cNvSpPr/>
              <p:nvPr/>
            </p:nvSpPr>
            <p:spPr>
              <a:xfrm>
                <a:off x="394365" y="1342574"/>
                <a:ext cx="1289154" cy="1289154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8" name="TextBox 167"/>
              <p:cNvSpPr txBox="1"/>
              <p:nvPr/>
            </p:nvSpPr>
            <p:spPr>
              <a:xfrm>
                <a:off x="549214" y="2305525"/>
                <a:ext cx="996702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d-ID"/>
                </a:defPPr>
                <a:lvl1pPr algn="ctr">
                  <a:defRPr sz="1050" b="1">
                    <a:solidFill>
                      <a:schemeClr val="accent3"/>
                    </a:solidFill>
                  </a:defRPr>
                </a:lvl1pPr>
              </a:lstStyle>
              <a:p>
                <a:r>
                  <a:rPr lang="en-GB" dirty="0">
                    <a:solidFill>
                      <a:srgbClr val="F15B2A"/>
                    </a:solidFill>
                  </a:rPr>
                  <a:t>Since: </a:t>
                </a:r>
                <a:r>
                  <a:rPr lang="en-GB" dirty="0" smtClean="0">
                    <a:solidFill>
                      <a:srgbClr val="F15B2A"/>
                    </a:solidFill>
                  </a:rPr>
                  <a:t>2019</a:t>
                </a:r>
                <a:endParaRPr lang="en-GB" dirty="0">
                  <a:solidFill>
                    <a:srgbClr val="F15B2A"/>
                  </a:solidFill>
                </a:endParaRPr>
              </a:p>
            </p:txBody>
          </p:sp>
        </p:grpSp>
        <p:sp>
          <p:nvSpPr>
            <p:cNvPr id="159" name="Rectangle 158"/>
            <p:cNvSpPr/>
            <p:nvPr/>
          </p:nvSpPr>
          <p:spPr>
            <a:xfrm>
              <a:off x="1655698" y="1345896"/>
              <a:ext cx="2357315" cy="11772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Areas:</a:t>
              </a:r>
              <a:r>
                <a:rPr lang="en-IN" sz="950" dirty="0" smtClean="0">
                  <a:solidFill>
                    <a:srgbClr val="414042"/>
                  </a:solidFill>
                </a:rPr>
                <a:t> B2C and B2B Hotel Reservations, Payments, Property Management System (PMS) and Online Travel Agencies (OTAs) </a:t>
              </a:r>
            </a:p>
            <a:p>
              <a:pPr algn="just"/>
              <a:endParaRPr lang="en-IN" sz="400" dirty="0" smtClean="0">
                <a:solidFill>
                  <a:srgbClr val="414042"/>
                </a:solidFill>
              </a:endParaRPr>
            </a:p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Engagements: </a:t>
              </a:r>
              <a:r>
                <a:rPr lang="en-IN" sz="950" dirty="0" smtClean="0">
                  <a:solidFill>
                    <a:srgbClr val="414042"/>
                  </a:solidFill>
                </a:rPr>
                <a:t>Assurance on central reservation system, Product testing, Functional and regression testing, Integration testing</a:t>
              </a:r>
            </a:p>
          </p:txBody>
        </p:sp>
        <p:sp>
          <p:nvSpPr>
            <p:cNvPr id="160" name="TextBox 159"/>
            <p:cNvSpPr txBox="1"/>
            <p:nvPr/>
          </p:nvSpPr>
          <p:spPr>
            <a:xfrm>
              <a:off x="571749" y="2295981"/>
              <a:ext cx="88274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50" b="1" dirty="0" smtClean="0">
                  <a:solidFill>
                    <a:srgbClr val="F15B2A"/>
                  </a:solidFill>
                </a:rPr>
                <a:t>Since: 2014</a:t>
              </a:r>
              <a:endParaRPr lang="en-GB" sz="1050" b="1" dirty="0">
                <a:solidFill>
                  <a:srgbClr val="F15B2A"/>
                </a:solidFill>
              </a:endParaRP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5574544" y="1349633"/>
              <a:ext cx="2357315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Areas: </a:t>
              </a:r>
              <a:r>
                <a:rPr lang="en-IN" sz="950" dirty="0">
                  <a:solidFill>
                    <a:srgbClr val="414042"/>
                  </a:solidFill>
                </a:rPr>
                <a:t>Property Management System (PMS</a:t>
              </a:r>
              <a:r>
                <a:rPr lang="en-IN" sz="950" dirty="0" smtClean="0">
                  <a:solidFill>
                    <a:srgbClr val="414042"/>
                  </a:solidFill>
                </a:rPr>
                <a:t>), </a:t>
              </a:r>
              <a:r>
                <a:rPr lang="en-IN" sz="950" dirty="0">
                  <a:solidFill>
                    <a:srgbClr val="414042"/>
                  </a:solidFill>
                </a:rPr>
                <a:t>Hotel </a:t>
              </a:r>
              <a:r>
                <a:rPr lang="en-IN" sz="950" dirty="0" smtClean="0">
                  <a:solidFill>
                    <a:srgbClr val="414042"/>
                  </a:solidFill>
                </a:rPr>
                <a:t>Reservations, Lounge Bookings and Ancillaries, Meet and Greet, CMS, Payments, Upsell, Cross-Sell, Business Rule Engine</a:t>
              </a:r>
            </a:p>
            <a:p>
              <a:pPr algn="just"/>
              <a:endParaRPr lang="en-IN" sz="400" dirty="0" smtClean="0">
                <a:solidFill>
                  <a:srgbClr val="414042"/>
                </a:solidFill>
              </a:endParaRPr>
            </a:p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Engagements: </a:t>
              </a:r>
              <a:r>
                <a:rPr lang="en-IN" sz="950" dirty="0" smtClean="0">
                  <a:solidFill>
                    <a:srgbClr val="414042"/>
                  </a:solidFill>
                </a:rPr>
                <a:t>Mobility validation, UI/UX  assurance, Independent Testing, Assurance on Cloud Services</a:t>
              </a: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4510174" y="2330845"/>
              <a:ext cx="88274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50" b="1" dirty="0" smtClean="0">
                  <a:solidFill>
                    <a:srgbClr val="F15B2A"/>
                  </a:solidFill>
                </a:rPr>
                <a:t>Since: 2018</a:t>
              </a:r>
              <a:endParaRPr lang="en-GB" sz="1050" b="1" dirty="0">
                <a:solidFill>
                  <a:srgbClr val="F15B2A"/>
                </a:solidFill>
              </a:endParaRPr>
            </a:p>
          </p:txBody>
        </p:sp>
        <p:pic>
          <p:nvPicPr>
            <p:cNvPr id="163" name="Picture 4" descr="Accor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0688" y="1797021"/>
              <a:ext cx="1426109" cy="274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4" name="Rectangle 163"/>
            <p:cNvSpPr/>
            <p:nvPr/>
          </p:nvSpPr>
          <p:spPr>
            <a:xfrm>
              <a:off x="9456642" y="1323364"/>
              <a:ext cx="2357315" cy="11772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Areas:</a:t>
              </a:r>
              <a:r>
                <a:rPr lang="en-IN" sz="950" dirty="0" smtClean="0">
                  <a:solidFill>
                    <a:srgbClr val="414042"/>
                  </a:solidFill>
                </a:rPr>
                <a:t> B2B Contract Loading, GDS Distribution, Hotel, Rate Creation, Event Creation, PCC Mapping </a:t>
              </a:r>
            </a:p>
            <a:p>
              <a:pPr algn="just"/>
              <a:endParaRPr lang="en-IN" sz="400" dirty="0" smtClean="0">
                <a:solidFill>
                  <a:srgbClr val="414042"/>
                </a:solidFill>
              </a:endParaRPr>
            </a:p>
            <a:p>
              <a:pPr algn="just"/>
              <a:r>
                <a:rPr lang="en-IN" sz="950" b="1" dirty="0" smtClean="0">
                  <a:solidFill>
                    <a:srgbClr val="414042"/>
                  </a:solidFill>
                </a:rPr>
                <a:t>Engagements: </a:t>
              </a:r>
              <a:r>
                <a:rPr lang="en-IN" sz="950" dirty="0" smtClean="0">
                  <a:solidFill>
                    <a:srgbClr val="414042"/>
                  </a:solidFill>
                </a:rPr>
                <a:t>Business</a:t>
              </a:r>
              <a:r>
                <a:rPr lang="en-IN" sz="950" b="1" dirty="0" smtClean="0">
                  <a:solidFill>
                    <a:srgbClr val="414042"/>
                  </a:solidFill>
                </a:rPr>
                <a:t> </a:t>
              </a:r>
              <a:r>
                <a:rPr lang="en-IN" sz="950" dirty="0" smtClean="0">
                  <a:solidFill>
                    <a:srgbClr val="414042"/>
                  </a:solidFill>
                </a:rPr>
                <a:t>Validation services to all the end to end functionalities, performance modelling and load tuning testing</a:t>
              </a:r>
            </a:p>
          </p:txBody>
        </p:sp>
      </p:grpSp>
      <p:pic>
        <p:nvPicPr>
          <p:cNvPr id="80" name="Picture 4" descr="http://t1.gstatic.com/images?q=tbn:ANd9GcQc6EfLWbqhIZd_Jn3BeBSfPgh-Bf2-bgLr6wp631XGbmDjfT9Itw">
            <a:extLst>
              <a:ext uri="{FF2B5EF4-FFF2-40B4-BE49-F238E27FC236}">
                <a16:creationId xmlns:a16="http://schemas.microsoft.com/office/drawing/2014/main" id="{8F81B372-DE96-E24B-8F4A-8DF2BB162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737" y="1887991"/>
            <a:ext cx="929144" cy="2458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2975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+mn-lt"/>
              </a:rPr>
              <a:t>Who We A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>
                <a:solidFill>
                  <a:schemeClr val="accent1"/>
                </a:solidFill>
                <a:latin typeface="+mn-lt"/>
              </a:rPr>
              <a:t>Customer-Centricity at the Co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D394FF-82AB-F64B-B2EA-821C94114D62}"/>
              </a:ext>
            </a:extLst>
          </p:cNvPr>
          <p:cNvSpPr/>
          <p:nvPr/>
        </p:nvSpPr>
        <p:spPr>
          <a:xfrm>
            <a:off x="7238902" y="2150060"/>
            <a:ext cx="4079185" cy="726837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i="1" dirty="0">
                <a:solidFill>
                  <a:schemeClr val="tx2"/>
                </a:solidFill>
                <a:cs typeface="DaunPenh" panose="01010101010101010101" pitchFamily="2" charset="0"/>
              </a:rPr>
              <a:t>Diverse IT and BPM Solutions including Digital Engagement, Enablement and Enlightenment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AF1C4C0-5E1F-0C44-A29C-32F0858CA97E}"/>
              </a:ext>
            </a:extLst>
          </p:cNvPr>
          <p:cNvSpPr/>
          <p:nvPr/>
        </p:nvSpPr>
        <p:spPr>
          <a:xfrm>
            <a:off x="7238902" y="3024255"/>
            <a:ext cx="4120740" cy="820413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i="1" dirty="0">
                <a:solidFill>
                  <a:schemeClr val="tx2"/>
                </a:solidFill>
                <a:cs typeface="DaunPenh" panose="01010101010101010101" pitchFamily="2" charset="0"/>
              </a:rPr>
              <a:t>IGT’s technology-agnostic Xcelerate framework for delivering transformative solution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5D394FF-82AB-F64B-B2EA-821C94114D62}"/>
              </a:ext>
            </a:extLst>
          </p:cNvPr>
          <p:cNvSpPr/>
          <p:nvPr/>
        </p:nvSpPr>
        <p:spPr>
          <a:xfrm>
            <a:off x="7238902" y="1158018"/>
            <a:ext cx="4127612" cy="81610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i="1" dirty="0">
                <a:solidFill>
                  <a:schemeClr val="tx2"/>
                </a:solidFill>
                <a:cs typeface="DaunPenh" panose="01010101010101010101" pitchFamily="2" charset="0"/>
              </a:rPr>
              <a:t>100% owned by APOLLO Group</a:t>
            </a:r>
            <a:r>
              <a:rPr lang="en-US" sz="1300" i="1" dirty="0">
                <a:solidFill>
                  <a:schemeClr val="tx2"/>
                </a:solidFill>
                <a:cs typeface="DaunPenh" panose="01010101010101010101" pitchFamily="2" charset="0"/>
              </a:rPr>
              <a:t>, a leading global alternative investment manager with approximately </a:t>
            </a:r>
            <a:r>
              <a:rPr lang="en-US" sz="1300" b="1" i="1" dirty="0">
                <a:solidFill>
                  <a:schemeClr val="tx2"/>
                </a:solidFill>
                <a:cs typeface="DaunPenh" panose="01010101010101010101" pitchFamily="2" charset="0"/>
              </a:rPr>
              <a:t>$280Bn entity</a:t>
            </a:r>
            <a:r>
              <a:rPr lang="en-US" sz="1300" i="1" dirty="0">
                <a:solidFill>
                  <a:schemeClr val="tx2"/>
                </a:solidFill>
                <a:cs typeface="DaunPenh" panose="01010101010101010101" pitchFamily="2" charset="0"/>
              </a:rPr>
              <a:t>. 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6931824" y="2014540"/>
            <a:ext cx="4348163" cy="0"/>
          </a:xfrm>
          <a:prstGeom prst="line">
            <a:avLst/>
          </a:prstGeom>
          <a:ln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6931824" y="2965585"/>
            <a:ext cx="4348163" cy="0"/>
          </a:xfrm>
          <a:prstGeom prst="line">
            <a:avLst/>
          </a:prstGeom>
          <a:ln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/>
          <p:cNvSpPr/>
          <p:nvPr/>
        </p:nvSpPr>
        <p:spPr>
          <a:xfrm>
            <a:off x="7495602" y="3928837"/>
            <a:ext cx="3784385" cy="1826108"/>
          </a:xfrm>
          <a:prstGeom prst="rect">
            <a:avLst/>
          </a:prstGeom>
          <a:solidFill>
            <a:schemeClr val="bg1">
              <a:lumMod val="95000"/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055C17D5-3597-0A4E-A7F6-03FE8DF92F2E}"/>
              </a:ext>
            </a:extLst>
          </p:cNvPr>
          <p:cNvSpPr/>
          <p:nvPr/>
        </p:nvSpPr>
        <p:spPr>
          <a:xfrm rot="16200000">
            <a:off x="6474557" y="4693930"/>
            <a:ext cx="1829664" cy="29947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2269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Formal Accreditations </a:t>
            </a:r>
            <a:endParaRPr lang="en-GB" sz="1200" b="1" baseline="300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17" name="Picture 116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00" b="31250"/>
          <a:stretch/>
        </p:blipFill>
        <p:spPr bwMode="auto">
          <a:xfrm>
            <a:off x="7765969" y="5271210"/>
            <a:ext cx="729930" cy="160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" name="Picture 11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369" b="-2014"/>
          <a:stretch/>
        </p:blipFill>
        <p:spPr bwMode="auto">
          <a:xfrm>
            <a:off x="8720058" y="4715655"/>
            <a:ext cx="410734" cy="447181"/>
          </a:xfrm>
          <a:prstGeom prst="rect">
            <a:avLst/>
          </a:prstGeom>
          <a:noFill/>
        </p:spPr>
      </p:pic>
      <p:pic>
        <p:nvPicPr>
          <p:cNvPr id="122" name="Picture 121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84" t="20644" r="32104" b="14735"/>
          <a:stretch/>
        </p:blipFill>
        <p:spPr bwMode="auto">
          <a:xfrm>
            <a:off x="7691555" y="4110466"/>
            <a:ext cx="670733" cy="198988"/>
          </a:xfrm>
          <a:prstGeom prst="rect">
            <a:avLst/>
          </a:prstGeom>
          <a:noFill/>
        </p:spPr>
      </p:pic>
      <p:pic>
        <p:nvPicPr>
          <p:cNvPr id="126" name="Picture 12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34" t="14404" r="-478" b="6758"/>
          <a:stretch/>
        </p:blipFill>
        <p:spPr bwMode="auto">
          <a:xfrm>
            <a:off x="7678421" y="4677530"/>
            <a:ext cx="867022" cy="242766"/>
          </a:xfrm>
          <a:prstGeom prst="rect">
            <a:avLst/>
          </a:prstGeom>
          <a:noFill/>
        </p:spPr>
      </p:pic>
      <p:pic>
        <p:nvPicPr>
          <p:cNvPr id="138" name="Group 1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78" b="-82"/>
          <a:stretch/>
        </p:blipFill>
        <p:spPr bwMode="auto">
          <a:xfrm>
            <a:off x="9454199" y="5124911"/>
            <a:ext cx="611175" cy="471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Group 1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748" b="-82"/>
          <a:stretch/>
        </p:blipFill>
        <p:spPr bwMode="auto">
          <a:xfrm>
            <a:off x="9451614" y="4046291"/>
            <a:ext cx="482860" cy="479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Group 13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0" t="12991" r="81229" b="17724"/>
          <a:stretch/>
        </p:blipFill>
        <p:spPr bwMode="auto">
          <a:xfrm>
            <a:off x="10329192" y="4620452"/>
            <a:ext cx="538825" cy="450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Group 13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3" t="16049" r="53896" b="9133"/>
          <a:stretch/>
        </p:blipFill>
        <p:spPr bwMode="auto">
          <a:xfrm>
            <a:off x="10005855" y="4161804"/>
            <a:ext cx="1119904" cy="284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Group 1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00" r="34045" b="-82"/>
          <a:stretch/>
        </p:blipFill>
        <p:spPr bwMode="auto">
          <a:xfrm>
            <a:off x="9451200" y="4600059"/>
            <a:ext cx="781687" cy="436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Group 13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93" t="12282" r="14156" b="-82"/>
          <a:stretch/>
        </p:blipFill>
        <p:spPr bwMode="auto">
          <a:xfrm>
            <a:off x="10329192" y="5244613"/>
            <a:ext cx="640236" cy="336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/>
          <p:cNvCxnSpPr/>
          <p:nvPr/>
        </p:nvCxnSpPr>
        <p:spPr>
          <a:xfrm>
            <a:off x="9305408" y="4477772"/>
            <a:ext cx="0" cy="71580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2" name="Picture 8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0698" y="4320326"/>
            <a:ext cx="793235" cy="299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730396" y="1261114"/>
            <a:ext cx="6494275" cy="2668435"/>
            <a:chOff x="730396" y="1261114"/>
            <a:chExt cx="6494275" cy="2668435"/>
          </a:xfrm>
        </p:grpSpPr>
        <p:sp>
          <p:nvSpPr>
            <p:cNvPr id="226" name="Rectangle 225"/>
            <p:cNvSpPr/>
            <p:nvPr/>
          </p:nvSpPr>
          <p:spPr>
            <a:xfrm>
              <a:off x="730396" y="1270225"/>
              <a:ext cx="6491555" cy="26593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" name="Rectangle 2"/>
            <p:cNvSpPr/>
            <p:nvPr/>
          </p:nvSpPr>
          <p:spPr>
            <a:xfrm>
              <a:off x="838199" y="1261114"/>
              <a:ext cx="129631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i="1" dirty="0">
                  <a:solidFill>
                    <a:schemeClr val="bg1"/>
                  </a:solidFill>
                  <a:cs typeface="DaunPenh" panose="01010101010101010101" pitchFamily="2" charset="0"/>
                </a:rPr>
                <a:t>Global Delivery</a:t>
              </a:r>
              <a:endParaRPr lang="en-US" sz="1400" i="1" dirty="0">
                <a:solidFill>
                  <a:schemeClr val="bg1"/>
                </a:solidFill>
              </a:endParaRP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7"/>
            <a:srcRect l="4056" r="1440"/>
            <a:stretch/>
          </p:blipFill>
          <p:spPr>
            <a:xfrm>
              <a:off x="744627" y="1311157"/>
              <a:ext cx="6480044" cy="2584612"/>
            </a:xfrm>
            <a:prstGeom prst="rect">
              <a:avLst/>
            </a:prstGeom>
          </p:spPr>
        </p:pic>
        <p:sp>
          <p:nvSpPr>
            <p:cNvPr id="225" name="Rectangle 224"/>
            <p:cNvSpPr/>
            <p:nvPr/>
          </p:nvSpPr>
          <p:spPr>
            <a:xfrm>
              <a:off x="751069" y="1291094"/>
              <a:ext cx="129631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i="1" dirty="0">
                  <a:solidFill>
                    <a:schemeClr val="bg1"/>
                  </a:solidFill>
                  <a:cs typeface="DaunPenh" panose="01010101010101010101" pitchFamily="2" charset="0"/>
                </a:rPr>
                <a:t>Global Delivery</a:t>
              </a:r>
              <a:endParaRPr lang="en-US" sz="1400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10971" y="4223890"/>
            <a:ext cx="6923737" cy="1794967"/>
            <a:chOff x="510971" y="4223890"/>
            <a:chExt cx="6923737" cy="1794967"/>
          </a:xfrm>
        </p:grpSpPr>
        <p:grpSp>
          <p:nvGrpSpPr>
            <p:cNvPr id="26" name="Group 25"/>
            <p:cNvGrpSpPr/>
            <p:nvPr/>
          </p:nvGrpSpPr>
          <p:grpSpPr>
            <a:xfrm>
              <a:off x="1190963" y="4238451"/>
              <a:ext cx="1566633" cy="584811"/>
              <a:chOff x="1436622" y="4187651"/>
              <a:chExt cx="2092797" cy="584811"/>
            </a:xfrm>
          </p:grpSpPr>
          <p:sp>
            <p:nvSpPr>
              <p:cNvPr id="148" name="TextBox 147"/>
              <p:cNvSpPr txBox="1"/>
              <p:nvPr/>
            </p:nvSpPr>
            <p:spPr>
              <a:xfrm>
                <a:off x="1436623" y="4187651"/>
                <a:ext cx="209279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20+ years </a:t>
                </a:r>
              </a:p>
            </p:txBody>
          </p:sp>
          <p:sp>
            <p:nvSpPr>
              <p:cNvPr id="149" name="TextBox 148"/>
              <p:cNvSpPr txBox="1"/>
              <p:nvPr/>
            </p:nvSpPr>
            <p:spPr>
              <a:xfrm>
                <a:off x="1436622" y="4510852"/>
                <a:ext cx="194333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chemeClr val="accent1"/>
                    </a:solidFill>
                    <a:cs typeface="Arial" panose="020B0604020202020204" pitchFamily="34" charset="0"/>
                  </a:rPr>
                  <a:t>of industry experience</a:t>
                </a: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768595" y="5081225"/>
              <a:ext cx="2515165" cy="795753"/>
              <a:chOff x="768595" y="5132025"/>
              <a:chExt cx="2515165" cy="795753"/>
            </a:xfrm>
          </p:grpSpPr>
          <p:grpSp>
            <p:nvGrpSpPr>
              <p:cNvPr id="27" name="Group 26"/>
              <p:cNvGrpSpPr/>
              <p:nvPr/>
            </p:nvGrpSpPr>
            <p:grpSpPr>
              <a:xfrm>
                <a:off x="1190964" y="5157700"/>
                <a:ext cx="2092796" cy="770078"/>
                <a:chOff x="1436623" y="5158378"/>
                <a:chExt cx="2092796" cy="770078"/>
              </a:xfrm>
            </p:grpSpPr>
            <p:sp>
              <p:nvSpPr>
                <p:cNvPr id="152" name="TextBox 151"/>
                <p:cNvSpPr txBox="1"/>
                <p:nvPr/>
              </p:nvSpPr>
              <p:spPr>
                <a:xfrm>
                  <a:off x="1436623" y="5158378"/>
                  <a:ext cx="2092796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2000" b="1" dirty="0">
                      <a:solidFill>
                        <a:schemeClr val="tx2"/>
                      </a:solidFill>
                      <a:cs typeface="Arial" panose="020B0604020202020204" pitchFamily="34" charset="0"/>
                    </a:rPr>
                    <a:t>20+</a:t>
                  </a:r>
                </a:p>
              </p:txBody>
            </p:sp>
            <p:sp>
              <p:nvSpPr>
                <p:cNvPr id="153" name="TextBox 152"/>
                <p:cNvSpPr txBox="1"/>
                <p:nvPr/>
              </p:nvSpPr>
              <p:spPr>
                <a:xfrm>
                  <a:off x="1436623" y="5497569"/>
                  <a:ext cx="1671240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100" dirty="0">
                      <a:solidFill>
                        <a:schemeClr val="accent1"/>
                      </a:solidFill>
                      <a:cs typeface="Arial" panose="020B0604020202020204" pitchFamily="34" charset="0"/>
                    </a:rPr>
                    <a:t>Digital Solutions &amp; Frameworks</a:t>
                  </a:r>
                </a:p>
              </p:txBody>
            </p:sp>
          </p:grpSp>
          <p:pic>
            <p:nvPicPr>
              <p:cNvPr id="163" name="Picture 162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8595" y="5132025"/>
                <a:ext cx="332150" cy="492867"/>
              </a:xfrm>
              <a:prstGeom prst="rect">
                <a:avLst/>
              </a:prstGeom>
            </p:spPr>
          </p:pic>
        </p:grpSp>
        <p:grpSp>
          <p:nvGrpSpPr>
            <p:cNvPr id="8" name="Group 7"/>
            <p:cNvGrpSpPr/>
            <p:nvPr/>
          </p:nvGrpSpPr>
          <p:grpSpPr>
            <a:xfrm>
              <a:off x="4887418" y="4223890"/>
              <a:ext cx="2290431" cy="589397"/>
              <a:chOff x="2790986" y="4178836"/>
              <a:chExt cx="2290431" cy="589397"/>
            </a:xfrm>
          </p:grpSpPr>
          <p:grpSp>
            <p:nvGrpSpPr>
              <p:cNvPr id="28" name="Group 27"/>
              <p:cNvGrpSpPr/>
              <p:nvPr/>
            </p:nvGrpSpPr>
            <p:grpSpPr>
              <a:xfrm>
                <a:off x="3237726" y="4178836"/>
                <a:ext cx="1843691" cy="589397"/>
                <a:chOff x="3674462" y="4178836"/>
                <a:chExt cx="1843691" cy="589397"/>
              </a:xfrm>
            </p:grpSpPr>
            <p:sp>
              <p:nvSpPr>
                <p:cNvPr id="145" name="TextBox 144"/>
                <p:cNvSpPr txBox="1"/>
                <p:nvPr/>
              </p:nvSpPr>
              <p:spPr>
                <a:xfrm>
                  <a:off x="3674462" y="4506623"/>
                  <a:ext cx="1843691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100" dirty="0">
                      <a:solidFill>
                        <a:schemeClr val="accent1"/>
                      </a:solidFill>
                      <a:cs typeface="Arial" panose="020B0604020202020204" pitchFamily="34" charset="0"/>
                    </a:rPr>
                    <a:t>Global Customers</a:t>
                  </a:r>
                </a:p>
              </p:txBody>
            </p:sp>
            <p:sp>
              <p:nvSpPr>
                <p:cNvPr id="146" name="TextBox 145"/>
                <p:cNvSpPr txBox="1"/>
                <p:nvPr/>
              </p:nvSpPr>
              <p:spPr>
                <a:xfrm>
                  <a:off x="3674462" y="4178836"/>
                  <a:ext cx="1517890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2000" b="1" dirty="0">
                      <a:solidFill>
                        <a:schemeClr val="tx2"/>
                      </a:solidFill>
                      <a:cs typeface="Arial" panose="020B0604020202020204" pitchFamily="34" charset="0"/>
                    </a:rPr>
                    <a:t>75+</a:t>
                  </a:r>
                </a:p>
              </p:txBody>
            </p:sp>
          </p:grpSp>
          <p:pic>
            <p:nvPicPr>
              <p:cNvPr id="165" name="Picture 164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90986" y="4297359"/>
                <a:ext cx="406676" cy="406676"/>
              </a:xfrm>
              <a:prstGeom prst="rect">
                <a:avLst/>
              </a:prstGeom>
            </p:spPr>
          </p:pic>
        </p:grpSp>
        <p:grpSp>
          <p:nvGrpSpPr>
            <p:cNvPr id="7" name="Group 6"/>
            <p:cNvGrpSpPr/>
            <p:nvPr/>
          </p:nvGrpSpPr>
          <p:grpSpPr>
            <a:xfrm>
              <a:off x="2759805" y="4223890"/>
              <a:ext cx="2591460" cy="600801"/>
              <a:chOff x="2739062" y="5123760"/>
              <a:chExt cx="2591460" cy="600801"/>
            </a:xfrm>
          </p:grpSpPr>
          <p:grpSp>
            <p:nvGrpSpPr>
              <p:cNvPr id="30" name="Group 29"/>
              <p:cNvGrpSpPr/>
              <p:nvPr/>
            </p:nvGrpSpPr>
            <p:grpSpPr>
              <a:xfrm>
                <a:off x="3237726" y="5123760"/>
                <a:ext cx="2092796" cy="600801"/>
                <a:chOff x="3663604" y="5123760"/>
                <a:chExt cx="2092796" cy="600801"/>
              </a:xfrm>
            </p:grpSpPr>
            <p:sp>
              <p:nvSpPr>
                <p:cNvPr id="154" name="TextBox 153"/>
                <p:cNvSpPr txBox="1"/>
                <p:nvPr/>
              </p:nvSpPr>
              <p:spPr>
                <a:xfrm>
                  <a:off x="3663604" y="5123760"/>
                  <a:ext cx="2092796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2000" b="1" dirty="0">
                      <a:solidFill>
                        <a:schemeClr val="tx2"/>
                      </a:solidFill>
                      <a:cs typeface="Arial" panose="020B0604020202020204" pitchFamily="34" charset="0"/>
                    </a:rPr>
                    <a:t>Integrated</a:t>
                  </a:r>
                </a:p>
              </p:txBody>
            </p:sp>
            <p:sp>
              <p:nvSpPr>
                <p:cNvPr id="155" name="TextBox 154"/>
                <p:cNvSpPr txBox="1"/>
                <p:nvPr/>
              </p:nvSpPr>
              <p:spPr>
                <a:xfrm>
                  <a:off x="3663604" y="5462951"/>
                  <a:ext cx="1671240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100" dirty="0">
                      <a:solidFill>
                        <a:schemeClr val="accent1"/>
                      </a:solidFill>
                      <a:cs typeface="Arial" panose="020B0604020202020204" pitchFamily="34" charset="0"/>
                    </a:rPr>
                    <a:t>IT and BPM Solutions</a:t>
                  </a:r>
                </a:p>
              </p:txBody>
            </p:sp>
          </p:grpSp>
          <p:pic>
            <p:nvPicPr>
              <p:cNvPr id="29" name="Picture 28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39062" y="5148882"/>
                <a:ext cx="510525" cy="503748"/>
              </a:xfrm>
              <a:prstGeom prst="rect">
                <a:avLst/>
              </a:prstGeom>
            </p:spPr>
          </p:pic>
        </p:grpSp>
        <p:grpSp>
          <p:nvGrpSpPr>
            <p:cNvPr id="5" name="Group 4"/>
            <p:cNvGrpSpPr/>
            <p:nvPr/>
          </p:nvGrpSpPr>
          <p:grpSpPr>
            <a:xfrm>
              <a:off x="3267804" y="5081225"/>
              <a:ext cx="1559695" cy="937632"/>
              <a:chOff x="5341912" y="4173384"/>
              <a:chExt cx="1559695" cy="937632"/>
            </a:xfrm>
          </p:grpSpPr>
          <p:sp>
            <p:nvSpPr>
              <p:cNvPr id="150" name="TextBox 149"/>
              <p:cNvSpPr txBox="1"/>
              <p:nvPr/>
            </p:nvSpPr>
            <p:spPr>
              <a:xfrm>
                <a:off x="5341912" y="4510852"/>
                <a:ext cx="1559695" cy="600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chemeClr val="accent1"/>
                    </a:solidFill>
                    <a:cs typeface="Arial" panose="020B0604020202020204" pitchFamily="34" charset="0"/>
                  </a:rPr>
                  <a:t>Integrity, Customer Orientation, Future-Mindedness</a:t>
                </a:r>
              </a:p>
            </p:txBody>
          </p:sp>
          <p:sp>
            <p:nvSpPr>
              <p:cNvPr id="151" name="TextBox 150"/>
              <p:cNvSpPr txBox="1"/>
              <p:nvPr/>
            </p:nvSpPr>
            <p:spPr>
              <a:xfrm>
                <a:off x="5341912" y="4173384"/>
                <a:ext cx="151789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Core Values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5341912" y="5081225"/>
              <a:ext cx="2092796" cy="598713"/>
              <a:chOff x="5341912" y="5132025"/>
              <a:chExt cx="2092796" cy="598713"/>
            </a:xfrm>
          </p:grpSpPr>
          <p:sp>
            <p:nvSpPr>
              <p:cNvPr id="160" name="TextBox 159"/>
              <p:cNvSpPr txBox="1"/>
              <p:nvPr/>
            </p:nvSpPr>
            <p:spPr>
              <a:xfrm>
                <a:off x="5341912" y="5132025"/>
                <a:ext cx="209279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20</a:t>
                </a:r>
              </a:p>
            </p:txBody>
          </p:sp>
          <p:sp>
            <p:nvSpPr>
              <p:cNvPr id="162" name="TextBox 161"/>
              <p:cNvSpPr txBox="1"/>
              <p:nvPr/>
            </p:nvSpPr>
            <p:spPr>
              <a:xfrm>
                <a:off x="5341912" y="5469128"/>
                <a:ext cx="191722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chemeClr val="accent1"/>
                    </a:solidFill>
                    <a:cs typeface="Arial" panose="020B0604020202020204" pitchFamily="34" charset="0"/>
                  </a:rPr>
                  <a:t>Global Delivery Centers</a:t>
                </a:r>
              </a:p>
            </p:txBody>
          </p:sp>
        </p:grpSp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971" y="4272777"/>
              <a:ext cx="852717" cy="545947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43" t="9020" b="16667"/>
            <a:stretch/>
          </p:blipFill>
          <p:spPr>
            <a:xfrm>
              <a:off x="4975343" y="5197364"/>
              <a:ext cx="443157" cy="46417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13" cstate="print">
              <a:clrChange>
                <a:clrFrom>
                  <a:srgbClr val="F2F2F4"/>
                </a:clrFrom>
                <a:clrTo>
                  <a:srgbClr val="F2F2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941" t="21569" r="24659" b="34118"/>
            <a:stretch/>
          </p:blipFill>
          <p:spPr>
            <a:xfrm>
              <a:off x="2768215" y="5138541"/>
              <a:ext cx="466009" cy="4425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4941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75753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FE89269-FDED-4746-A9C5-7BC5D2A843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81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FE89269-FDED-4746-A9C5-7BC5D2A84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2" descr="D-Edg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itle 1"/>
          <p:cNvSpPr>
            <a:spLocks noGrp="1"/>
          </p:cNvSpPr>
          <p:nvPr>
            <p:ph type="title"/>
          </p:nvPr>
        </p:nvSpPr>
        <p:spPr>
          <a:xfrm>
            <a:off x="758140" y="218306"/>
            <a:ext cx="10972800" cy="513927"/>
          </a:xfrm>
        </p:spPr>
        <p:txBody>
          <a:bodyPr>
            <a:noAutofit/>
          </a:bodyPr>
          <a:lstStyle/>
          <a:p>
            <a:pPr>
              <a:buSzPts val="2500"/>
            </a:pPr>
            <a:r>
              <a:rPr lang="en-US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t> Proud partner for leading global organizations…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Arial" panose="020B0604020202020204" pitchFamily="34" charset="0"/>
              </a:rPr>
              <a:t>… over 2 decades track record of delivering complex real-time high quality solutions</a:t>
            </a:r>
            <a:endParaRPr lang="en-GB" dirty="0"/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356E66A-1DA2-FF49-A43F-BC8332F04F0B}"/>
              </a:ext>
            </a:extLst>
          </p:cNvPr>
          <p:cNvCxnSpPr/>
          <p:nvPr/>
        </p:nvCxnSpPr>
        <p:spPr>
          <a:xfrm flipH="1">
            <a:off x="561861" y="5164917"/>
            <a:ext cx="10801991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356E66A-1DA2-FF49-A43F-BC8332F04F0B}"/>
              </a:ext>
            </a:extLst>
          </p:cNvPr>
          <p:cNvCxnSpPr/>
          <p:nvPr/>
        </p:nvCxnSpPr>
        <p:spPr>
          <a:xfrm flipH="1">
            <a:off x="561861" y="2780713"/>
            <a:ext cx="10801991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356E66A-1DA2-FF49-A43F-BC8332F04F0B}"/>
              </a:ext>
            </a:extLst>
          </p:cNvPr>
          <p:cNvCxnSpPr/>
          <p:nvPr/>
        </p:nvCxnSpPr>
        <p:spPr>
          <a:xfrm flipH="1">
            <a:off x="561861" y="3953271"/>
            <a:ext cx="1080199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4" name="Object 93" hidden="1">
            <a:extLst>
              <a:ext uri="{FF2B5EF4-FFF2-40B4-BE49-F238E27FC236}">
                <a16:creationId xmlns:a16="http://schemas.microsoft.com/office/drawing/2014/main" id="{376FC595-C9A8-426A-BAB7-F6683606D77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817" name="think-cell Slide" r:id="rId8" imgW="328" imgH="328" progId="TCLayout.ActiveDocument.1">
                  <p:embed/>
                </p:oleObj>
              </mc:Choice>
              <mc:Fallback>
                <p:oleObj name="think-cell Slide" r:id="rId8" imgW="328" imgH="328" progId="TCLayout.ActiveDocument.1">
                  <p:embed/>
                  <p:pic>
                    <p:nvPicPr>
                      <p:cNvPr id="94" name="Object 93" hidden="1">
                        <a:extLst>
                          <a:ext uri="{FF2B5EF4-FFF2-40B4-BE49-F238E27FC236}">
                            <a16:creationId xmlns:a16="http://schemas.microsoft.com/office/drawing/2014/main" id="{376FC595-C9A8-426A-BAB7-F6683606D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49" descr="data:image/jpeg;base64,/9j/4AAQSkZJRgABAQAAAQABAAD/2wCEAAkGBwgHBgkIBwgKCgkLDRYPDQwMDRsUFRAWIB0iIiAdHx8kKDQsJCYxJx8fLT0tMTU3Ojo6Iys/RD84QzQ5OjcBCgoKDQwNGg8PGjclHyU3Nzc3Nzc3Nzc3Nzc3Nzc3Nzc3Nzc3Nzc3Nzc3Nzc3Nzc3Nzc3Nzc3Nzc3Nzc3Nzc3N//AABEIAKAAlAMBEQACEQEDEQH/xAAcAAACAgMBAQAAAAAAAAAAAAAABwUGAgMEAQj/xABHEAABAwMBBAcEBAoJBQEAAAABAgMEAAURBgcSITETQVFhcYGRFCIysQhCocEVIzdSU2JygpLRM0N0ssLS4fDxJDRjc7MW/8QAGgEBAAIDAQAAAAAAAAAAAAAAAAUGAgMEAf/EADMRAAICAAUDAgMIAQUBAAAAAAABAgMEERIxQQUTIVFxMmHRM4GRobHB4fBCIiM0UvEU/9oADAMBAAIRAxEAPwB40AUAUAUB4TQEZP1DZrbKRFn3OJHfXybcdAP+leOSW7NsKLZx1Ri2iSCwoAg5B5EV6ajKgCgCgCgPCcCgOG6Xq2WhtLl0nR4qVnCelWBveHbXjklubK6p2vKCzOmNJZlsofjOodZWN5C0HKVDuNemEouLya8m6h4FAFAFAFAFAFAFAeE+tAU3aBq82COmDb91y6yR7gxnok/nkfIfyrCTey3O7BYN3y1S+FCbfiOOPOuy3lrkLO8tZOSonrJ6655xyk0y404OLgs3l7F90PqOTp9+PbLw4V2yQB7O+eTKj1ZP1ePLq8K1YbEptwZXuoYLVnKO6/MbCT6VIECZUAUB4TQEHqrUMfTtrVLfG+8r3WGQeLiuzw7TWuyxQWbN+HoldPStuRJ3xNwuM/228vFUh1O9uj6g7AOocOX31w12d3ORcMDg4dvJeESOjtSTNJSklZU9aHl4ebHEoP56R1Hu6/HFdcNSjq4OLqPT1Pwt+H+zHlFktSo7ciO4h1l1IWhaDkKSeRFbyrSi4vJ7m6h4FAFAFAFAFAFARWo7zHsNofuUrilpPuIHNajwCR4mvG8kbaapXTUI8iWSqTNmP3O4q35klW8r9QdSR4cq3UVZLU9y3U0xqioxOOV/Tuf76q48R9qyXo+CJa/Y2ptobjSEZSpoA93DnValNwucl6kRZ8bLTs9vjryHbHc3Mzoad5pZP9MzyB8RyPlVhwl6tgiu9Qw3bl3I7P8AUuqTkV1kce0BpkPtR2XH31hDLSSta1ckgcSa8byR6k28kKd+U5qW8LvMpJEZvKILKvqoz8ZHaef/ABUDjcTqlpiWXC0KivTzz7kNqYf9cg9rX3mtmA+yfuT2C+zfuc0VCVxSlYylWQR21P4aKdWTNWJ+PItmzS/Kts7/APPTnFGO8SuC4r6p5lv7x357RWlxdcsit9UwuS7sfv8AqNNPYayIQ9oAoAoAoAoDFXEY9aAUWu7wb9qAxGlAwLaopGDwdex7x/d5evbXtcdcs+EWTpeG7cO5LdkOK7SUI6cCHlYGeHrUZiVlbmSGGf8Atl1QjcbSj81IFVNvNtkO3m8zlmh+O9HucDhMhq6RA/SJ+sg9yhwrpwt/amvQ121qyDhLkZ9puLF0t0afFVll9AUM8x3HvB4VZoyUlmirWVuubg+DsUeHCsjAom0G4KmSGtPR1ncUA9OUP0f1W/FR4+A764MfiFXDJbkt03D5vuv7vqRSEhCAlIASBgCq7nmTJX9Up/GxldqVD0x/OpPp7/0yRJYF+JI5YoxHR38as2GWVaNd7zsZjKYU82C2stutkLbcHNChxBHnXtteuJplFSWTG/o2/DUNkZlrSESmyW5LY+q4OfkeY8a5It8lQxVDotcOCfrI5woAoAoAoCt64varJYXXY5HtshXQxgeHvnr8hk+VeP5HVg8P37lF7cinjMpYZS0jiEjmes9ZrsrgoR0luXg21mDT0PTT4qfzlDPlxqM6k9ENfyOmqemqRbKqRGgeIxQEnoiZ7BdXrU6cR5hL0fj8Ln10jxHvDwVU703Eak62RPU6M0rV7MuFznNW23yJsnIbYQVEDmrsA7ycAeNScpKKbZE11uyaguRaxkvLU7KlnMqSsuunsJ+qO4DAHhVWxNztnqLVXXGuKiuDfWgyIjUze9BQ5+jXn1GK7sBLKxx9UduBllY16kchO62lPYKuEFpikYyecmzKsjEldGXX8CalR0igmJcMMvZPBLn9Wr7vMVx2x0z1epG9Tw/dq1rdf1jgSeaaxKyZUAUAUBirmBQCj1vcvwrqVxCDmPb8sN9hcPxq+SfI1nTHVLUyy9Lw/bp1veX6ENXYSYUB2WmMt55yQlIKYqQtR/aO6PnUR1d54d5epjZYoJRf+X7eSaHKqqaAoDW6FgodZVuvNKDjSuxQ4j+XgTW2m11TU0eTgrIuD2ZNaouyLozAZY/oVJEh1PfySnyO8T3gVLdQxSdahB7kZ0/CuE5Tnx4InlUISgUBomxlTGFxkJ3lrG8kfs+98ga68F/yIe5nGztPW9vr4/cr4ORmrqnmbmsj2gNb7SX2Vtr5KGM9Y7CO8VhZBSjkxuNvRd3VedPsSHT/ANU0SzIH66eBPmMHzrjj6MqGMo7FzhxwWCvTmCgCgIjUlz/BFklzxguIbw0kngpZ4JHqRXjN2Hq71sYeonGkFCAFqK181LPNRPMnxNdlcNMci5JJLJGdZgKMIvOg7V09huLihxlEtIJ7Ej/MT6VwYmHdhKHqQvU8ToxFa/6+fx/giWid0ZGD2HqqnMkn8jOh4eEgAk8hzoenJAfDq3RjBKt4edZzRuthoSOysDQFATOj44kXR11QyllrB8VcPkDUp0uvVa5ei/Uj+p2aKlFcv9CkXKIYFylRFf1Lqkjwzw+zFWit+CWqs7tcbPVHPWwzCgLJs6uBh39cJasMT2+A7HUjI9U5/hFcdscpZ+pE9Xp1Vq1cb+w0UHhjrFYldMqAxWcJPbQC/wBqE3fcgWtKuCcyXQD2ZSjPnvH92soLORN9GpzlK1rbwUquwnQoDw55JBJPIDrrGbyR6hx2OJ+C7TBhEe8lsBZ/W5k+prjZTcVb3rpT4b/LgqF9jex3mQ2BhCz0iO8K/wBc1WcbV27mls/JYMHZ3aIv08HFXGdBzXBzo45xzVw/nWUdzbTHOZHQ3OjkIPUTg+FbZLNHVZHVFomq0HAeKOBmgLhpRgRLOH1DCpC9/wAuQ+zjVj6dVopzfJAdTs136Vx4KptGgli8tzEj8XJbGTj66eB+wp9KlamSvSLddDhzF/k/5zKrXQSYV6AQ85FfZlMk9LHcS6jHWUnOPPl51pujnExsrVtbg+R3xJDcqOxJYUC0+2HEEdYIBHzrmKVKLi3F8HRQ8MFcSBQCg1ZK9t1NPdzkIX0KSOxHDHrvetb6ols6dV28NH5+fx/giq3nYFATOjrf+EtQR0KGWmPx6/3TwHrj7a0Ws5OoXdnDSfL8f37hr7vSb58ga0FSK5rOL0kdicjm0dxfgeX2/OorqlWqCsXBK9Kuym63yVcHIqCJojrovLqEfmjPrWyCOqheGzhPKth0E6wvpGUL7RWh7kfNZSaNjLC5cluM18TqgnPZ3+lZ01uyaguTCdirg5y4GQ00hCEMoGENpwB8qtkUoxSWxUpScpNvdkFrW3/hDTrxCSXYh6VOOfDn4+7mtkXkzv6Zd2sQs9pePp+YrAcgGuuOxaD2vQeHiK8ks0ENDZ/L9o00y1n3oi1M4HUBxSP4SK42snkVbqdXbxMvn5/Es+a8OAwUoJKlHklOTQbiNcWXXXHVfE4tSz4k5NdVexd1HTFRXCR5Ww9PDXknkj1DL0DbTAsplOJw/MIUM8wjHuj5nzrkk82Vrq2I7l2iO0f15LWhO6kDurEizmkx0SWX4ro9x1JH+/nWFkFOLi+TOubrmpR4F0605GfdjvDC2lFJFVSyt1ycXwWuM1ZFTjsyFnHMpzuOKyjsd9SygjRWRsJa3qzFH6pIrTPc47llMtWjYO+67cHU+4gFDfj1n7vWpbpdPl2v2X7kL1S7KKpXuy2sj3d481VNEIYqACyCAUr5g0AoNSWw2m8yI2MNE77P7BJwPLiPKuiuXjIuGEv79Cnzz7kbW46AoC9bL3DuXJjPDeQvzIIPyFclnxEH1qPmEvk1/fxL2k+6PCsCDNbqd9LyBzUjHzoep5MRoBSSk8wcGuqvYvD8+T2th4S+lrKu93NLakn2RrCn1d3UnxPyzWiyXBy43ErDVN/5Pb6jZbSCobowhAwAK0FRzz8s30BrdSSARzHGgKvq62lxCbnHTkpTh4D8387yqJ6lhtS7q43+pL9MxKT7MudvoL+V/wBy745qKjsWev4Uaq9MyXscZ2YURmR77i/QcMk91IVO2xQicOLtjUnOXCGbDioix2YjPwNJAOeurNVWq4KK2RULbJWzc5cnbWw1mLiN9BHpQFZ1nZVXi2h6OjM2LkpA5qHWn7x4VlF5Ej03Fqi3TL4X/cxXjwxXVF5loayPayZ4XfZegl24udWEJ8+Jrls+IhetPxWvf9i+t/AM9layBMXPdWFdXI0AtdW6Xmxbg9Mt8Zb8V5RWUspKlIUeJGBxxWyE8izYDqFc61C15SXryR1p0xdro6EiK7GZz7zshBQB4A8T5etZSsOi/H4ehfFm/ReRl2i2R7TCTBhA8OK3FfEo9ZPf8q1N5lYxGIniJuc//CTQkJSAK8NBlQBQHOtARneGWlfEDRrMed0UTU2kZDbplWlvpmFfEyPiT4do+2oa/ASi869vQsuA6rBx7dzyfqQEOxXaY8Gm4EhBzgqdbKEjxJFc0MNbJ5KL+8krcbhqo5ymn7NNjFsFlassYNpIdlLHvrH3d1TGGwqpXq2VXG42WKnnsuCabRujvPM11HEZ0AUBpcSUK30+YoCl6q0eqW6u4WYJ6RfF2PnAUe1PUD2g/wDOcZ5E1gOpqCVd23D+pT0WW7uP9Am2TA5nB3mVJSP3iMeea2OzwTLxOHjHU5rL3QzNL2c2O0pjrKTJdV0jpSeG8R1dwArS3mysY/Ff/TbqWy8L2JxKQEgdgrw4z0gEYNAaejcT/RqGOxVAHRungpYA/VoDahCUDAoDKgCgCgPCM86A1KZUk5aVjuPKgPN1481JHgKA2NthA7T1k0BnQBQBQBQGlTXEqbVunroDwIezxUnxAoMjJtvdOSrKu00BtoAoAoAoAoAoAoAoAoAoAoAoAoAoAoAoAoAoAoAoDnnzYtuiOS50hqPHbwVuuqCUpyccSe80BFw9X6cnym4sK+25+Q6cNtNSEqUo9gANATlAaJkuPCjOSZbzbDDSd5x1xQSlI7STQEVF1hpqZJbjRL9bXpDqgltpuShSlk8gADxoCbFAe0AUAUAUAUAUAUAUAUAUAUAUAUBRNtj/AEOze6f+QtI9VpoD5jtc162XGJcGCekjPJeQe9JBoD7Ntk5m5W6LOjqCmZLSXUEdYUMigFx9IG+C36RatjasPXJ4JIzx6NGFK+3dHnQCK0S4qPrSwuk7u7cY5JPZ0ic/ZQH2LmgDIoAzQBkUAZoAyM4zQAeNAfO2h75eJ22SPFm3Wc/HTMlAMuyVqQAEOYASTjAxQH0VmgPM0AZHbQBkUAbwPI0AZFALX6QD3R6AU3+lltJ9Mn7qAT7mnC5shjXxCAVsXZ3fI+q0tKEf3kD+KgG9sDvn4T0Z7A6vL1tdLWDz6NXvJ/xDyoCgbUXndY7WI1gjklphbcRJT2n3nFcurJH7tAV7W7Ldq2pyW46QhuPNZKEgcEgBBAoB47ZYk6ToeRLtUqSxIhKD/wCIdKCtvkoHBGQAc+VAVr6Peo3rhb7naZr63X2HBIbW4oqUpCuCuJ48CB/FQEZ9IHUsti722y2yS+yttvp3SwspKlKOEp4HPJJPmKAsWr4c3T2w5xpcuQLg2zHU8/0yivpFPIKveznrI8KAW2ir1rq+29/TmnZD7ilul2RNceO80ggDd3z8I4E8OJ6qAi9UWjVegLxHdmXB1Mh4dI1KYkKUF4IyDnicHHAjroB03di+a+2Z2h+zSkxLjI6J51zpVNDICgvBTk8T1UAhLFZbtcdXos9vlBm6F51AfLqk4UkKKjvDjxwfWgPorZrYL9p2wTYeo5aJTynlOtOJfW6QkoAxlQB5j7aARWmdf3bTVzuUkyZExa47jLCJDylobWVpwsgnqAPCgGFsht2tV6pXfdQszFQpUZaS7KcAO8SCMIJyBw6gBQGF90JtB1JqG4l+9Lj2v2hYjdJIIBbJ93CEdWOHHHKgKfq/Rmp9njUe4ovK1suO7vSxXloKV8SAR34oB3bLNQStT6MiXC4EGWlSmXlgAb5Sfix3jHnmgKh9JB0DTFrZ4e9O3vRCv81Ad2zaxou+xdNreSE+2tSBvc8ErVuq8uHpQCu2TamGjNTz27n+KZcjutvJUQAHW8qSM+IKfFQoCf2CW1286uuWopwLi4ySd8jm66Tkjy3vWgK9tubMbaTOWg4UpDTg8d0fyoD6Wjobn2htD6Q4zIjgLHUoKTx+dAfOOh1uaE2ti2ynN1rp1Q3VK4byF/Ar13D60B12ZpWvttTklYKojMkvkZ5sskBI8yE5HeaAa2278mN48WP/ALIoCofRp/7C/f8AuZ+SqA5vpLfFYvB7/DQDF2Ufk6sX9n/xGgEjs6/Layer22X/AHHaA+l38dC5+yflQHzHsdhRp20xhEtlDqW+mdSlYyAtIOD5UB9OvLS00txaglCAVKUeoDnQCKm7SNWa11Aqz6EQmIwckOKSOkKBwK1KVkJHEchn5UBE7TdH6ks+nGrnqLU7tyUuQlsxcrLaVEKO8CTjqP1eugGNsA/J61/anfmKAgPpFRZk1NhZhRJMjdL6l9C0peM7gGcDxoC+7L4q4egbKy60tpwR8rQtJBBJJ4igEdtg0nOha5mP2+DIdjTQJKSyypQSpXBQ4frAnzoBw7GbCuxaGiiQ0W5UxSpDySMEZ+EHv3QPtoBX7ebNPka5S/DgSZCHITRK2WVLGQVDGQOfAUA8tHrdd0pZnJCCh5UFkuJUMFKtwZGPGgEv9Imxey3qBfmEYTLR0Lyh1OI+EnvKf7tAWD6Oti9nsk6+PIw5Md6FpR59GjmR4qz/AA0Batssd6Vs4uzEZlx51RZ3UNoKlH8cg8AKAqn0dIUuFBviZsV+OVOslIebKM8Fcs0BzfSKgTZy7IIUORI3Q7vdC0pe78PPAoC/7LmnY+z+yNPtLbcQxhSFpKVJ948waAReqbLqTQ+vH7vCiPFKZS34spDJW2pK8ndPkogg0A4tl2q7tquxXCRe4yGZDLxQgNMqQCgoHUScnOaAV+xm13CLtJQ/JgS2Wi2/77jCkjiDjiRQH0Jc4vtttlRN7d6dlTe92ZGKA+YNOydR7MdVvuO2dbj3RqjutrQrdcQSDlCh3pHHjQFg1s/rvW+nXLnOtZg2iM4lTMJttfSPKJ3QrB4nAJ48Bx4DroBi7Coz8TQTbMph1l0SnSUOoKTzHUaAYdAFAFAFAFAQWt7tMsOl592t7LTz8RAc6N3O6pO8N7l+rmgPn67XTVW1u7w47UEJYaUUoSylXRM5xvLWo9eB/KgPo3T1pZsVlh2uNxaispbBI4qwOJPeTk0BI0AUAUAUAYxQBQBQBQBQBgUAUB//2Q=="/>
          <p:cNvSpPr>
            <a:spLocks noChangeAspect="1" noChangeArrowheads="1"/>
          </p:cNvSpPr>
          <p:nvPr/>
        </p:nvSpPr>
        <p:spPr bwMode="auto">
          <a:xfrm>
            <a:off x="155575" y="-731838"/>
            <a:ext cx="1409700" cy="15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6" name="Picture 2">
            <a:extLst>
              <a:ext uri="{FF2B5EF4-FFF2-40B4-BE49-F238E27FC236}">
                <a16:creationId xmlns:a16="http://schemas.microsoft.com/office/drawing/2014/main" id="{6292DB92-5759-2D47-830A-EC13250AF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0490" y="4832284"/>
            <a:ext cx="860882" cy="274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3" name="NavigationTriangle">
            <a:extLst>
              <a:ext uri="{FF2B5EF4-FFF2-40B4-BE49-F238E27FC236}">
                <a16:creationId xmlns:a16="http://schemas.microsoft.com/office/drawing/2014/main" id="{BE95EBFF-A997-446E-A84A-6FE3268C52A9}"/>
              </a:ext>
            </a:extLst>
          </p:cNvPr>
          <p:cNvSpPr/>
          <p:nvPr/>
        </p:nvSpPr>
        <p:spPr>
          <a:xfrm rot="10800000">
            <a:off x="-39757" y="-31385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15A2B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NavigationIcon">
            <a:extLst>
              <a:ext uri="{FF2B5EF4-FFF2-40B4-BE49-F238E27FC236}">
                <a16:creationId xmlns:a16="http://schemas.microsoft.com/office/drawing/2014/main" id="{E21F6912-100F-49F3-B7FB-A624BAED2262}"/>
              </a:ext>
            </a:extLst>
          </p:cNvPr>
          <p:cNvSpPr>
            <a:spLocks noChangeAspect="1"/>
          </p:cNvSpPr>
          <p:nvPr/>
        </p:nvSpPr>
        <p:spPr bwMode="auto">
          <a:xfrm>
            <a:off x="115486" y="132877"/>
            <a:ext cx="366214" cy="365760"/>
          </a:xfrm>
          <a:custGeom>
            <a:avLst/>
            <a:gdLst>
              <a:gd name="connsiteX0" fmla="*/ 594459 w 1279525"/>
              <a:gd name="connsiteY0" fmla="*/ 1135460 h 1277938"/>
              <a:gd name="connsiteX1" fmla="*/ 739064 w 1279525"/>
              <a:gd name="connsiteY1" fmla="*/ 1206183 h 1277938"/>
              <a:gd name="connsiteX2" fmla="*/ 736927 w 1279525"/>
              <a:gd name="connsiteY2" fmla="*/ 1209755 h 1277938"/>
              <a:gd name="connsiteX3" fmla="*/ 640048 w 1279525"/>
              <a:gd name="connsiteY3" fmla="*/ 1217613 h 1277938"/>
              <a:gd name="connsiteX4" fmla="*/ 523937 w 1279525"/>
              <a:gd name="connsiteY4" fmla="*/ 1206183 h 1277938"/>
              <a:gd name="connsiteX5" fmla="*/ 462676 w 1279525"/>
              <a:gd name="connsiteY5" fmla="*/ 1189753 h 1277938"/>
              <a:gd name="connsiteX6" fmla="*/ 461963 w 1279525"/>
              <a:gd name="connsiteY6" fmla="*/ 1189753 h 1277938"/>
              <a:gd name="connsiteX7" fmla="*/ 594459 w 1279525"/>
              <a:gd name="connsiteY7" fmla="*/ 1135460 h 1277938"/>
              <a:gd name="connsiteX8" fmla="*/ 960086 w 1279525"/>
              <a:gd name="connsiteY8" fmla="*/ 865188 h 1277938"/>
              <a:gd name="connsiteX9" fmla="*/ 960800 w 1279525"/>
              <a:gd name="connsiteY9" fmla="*/ 865188 h 1277938"/>
              <a:gd name="connsiteX10" fmla="*/ 975791 w 1279525"/>
              <a:gd name="connsiteY10" fmla="*/ 959203 h 1277938"/>
              <a:gd name="connsiteX11" fmla="*/ 915828 w 1279525"/>
              <a:gd name="connsiteY11" fmla="*/ 984843 h 1277938"/>
              <a:gd name="connsiteX12" fmla="*/ 914400 w 1279525"/>
              <a:gd name="connsiteY12" fmla="*/ 981994 h 1277938"/>
              <a:gd name="connsiteX13" fmla="*/ 925108 w 1279525"/>
              <a:gd name="connsiteY13" fmla="*/ 901512 h 1277938"/>
              <a:gd name="connsiteX14" fmla="*/ 960086 w 1279525"/>
              <a:gd name="connsiteY14" fmla="*/ 865188 h 1277938"/>
              <a:gd name="connsiteX15" fmla="*/ 68883 w 1279525"/>
              <a:gd name="connsiteY15" fmla="*/ 554038 h 1277938"/>
              <a:gd name="connsiteX16" fmla="*/ 141632 w 1279525"/>
              <a:gd name="connsiteY16" fmla="*/ 613442 h 1277938"/>
              <a:gd name="connsiteX17" fmla="*/ 218661 w 1279525"/>
              <a:gd name="connsiteY17" fmla="*/ 773046 h 1277938"/>
              <a:gd name="connsiteX18" fmla="*/ 230072 w 1279525"/>
              <a:gd name="connsiteY18" fmla="*/ 920483 h 1277938"/>
              <a:gd name="connsiteX19" fmla="*/ 230072 w 1279525"/>
              <a:gd name="connsiteY19" fmla="*/ 921915 h 1277938"/>
              <a:gd name="connsiteX20" fmla="*/ 247903 w 1279525"/>
              <a:gd name="connsiteY20" fmla="*/ 1059332 h 1277938"/>
              <a:gd name="connsiteX21" fmla="*/ 243623 w 1279525"/>
              <a:gd name="connsiteY21" fmla="*/ 1061479 h 1277938"/>
              <a:gd name="connsiteX22" fmla="*/ 60325 w 1279525"/>
              <a:gd name="connsiteY22" fmla="*/ 639208 h 1277938"/>
              <a:gd name="connsiteX23" fmla="*/ 66031 w 1279525"/>
              <a:gd name="connsiteY23" fmla="*/ 556185 h 1277938"/>
              <a:gd name="connsiteX24" fmla="*/ 68883 w 1279525"/>
              <a:gd name="connsiteY24" fmla="*/ 554038 h 1277938"/>
              <a:gd name="connsiteX25" fmla="*/ 357733 w 1279525"/>
              <a:gd name="connsiteY25" fmla="*/ 136368 h 1277938"/>
              <a:gd name="connsiteX26" fmla="*/ 361306 w 1279525"/>
              <a:gd name="connsiteY26" fmla="*/ 138513 h 1277938"/>
              <a:gd name="connsiteX27" fmla="*/ 378456 w 1279525"/>
              <a:gd name="connsiteY27" fmla="*/ 222868 h 1277938"/>
              <a:gd name="connsiteX28" fmla="*/ 334152 w 1279525"/>
              <a:gd name="connsiteY28" fmla="*/ 364414 h 1277938"/>
              <a:gd name="connsiteX29" fmla="*/ 198386 w 1279525"/>
              <a:gd name="connsiteY29" fmla="*/ 435188 h 1277938"/>
              <a:gd name="connsiteX30" fmla="*/ 92631 w 1279525"/>
              <a:gd name="connsiteY30" fmla="*/ 459493 h 1277938"/>
              <a:gd name="connsiteX31" fmla="*/ 91202 w 1279525"/>
              <a:gd name="connsiteY31" fmla="*/ 456634 h 1277938"/>
              <a:gd name="connsiteX32" fmla="*/ 94061 w 1279525"/>
              <a:gd name="connsiteY32" fmla="*/ 446626 h 1277938"/>
              <a:gd name="connsiteX33" fmla="*/ 357733 w 1279525"/>
              <a:gd name="connsiteY33" fmla="*/ 136368 h 1277938"/>
              <a:gd name="connsiteX34" fmla="*/ 639970 w 1279525"/>
              <a:gd name="connsiteY34" fmla="*/ 61913 h 1277938"/>
              <a:gd name="connsiteX35" fmla="*/ 1117753 w 1279525"/>
              <a:gd name="connsiteY35" fmla="*/ 314503 h 1277938"/>
              <a:gd name="connsiteX36" fmla="*/ 1202613 w 1279525"/>
              <a:gd name="connsiteY36" fmla="*/ 504302 h 1277938"/>
              <a:gd name="connsiteX37" fmla="*/ 1202613 w 1279525"/>
              <a:gd name="connsiteY37" fmla="*/ 506443 h 1277938"/>
              <a:gd name="connsiteX38" fmla="*/ 1201187 w 1279525"/>
              <a:gd name="connsiteY38" fmla="*/ 509297 h 1277938"/>
              <a:gd name="connsiteX39" fmla="*/ 1146991 w 1279525"/>
              <a:gd name="connsiteY39" fmla="*/ 579936 h 1277938"/>
              <a:gd name="connsiteX40" fmla="*/ 1091368 w 1279525"/>
              <a:gd name="connsiteY40" fmla="*/ 579936 h 1277938"/>
              <a:gd name="connsiteX41" fmla="*/ 1027901 w 1279525"/>
              <a:gd name="connsiteY41" fmla="*/ 532843 h 1277938"/>
              <a:gd name="connsiteX42" fmla="*/ 1026475 w 1279525"/>
              <a:gd name="connsiteY42" fmla="*/ 537125 h 1277938"/>
              <a:gd name="connsiteX43" fmla="*/ 978697 w 1279525"/>
              <a:gd name="connsiteY43" fmla="*/ 640586 h 1277938"/>
              <a:gd name="connsiteX44" fmla="*/ 900968 w 1279525"/>
              <a:gd name="connsiteY44" fmla="*/ 624175 h 1277938"/>
              <a:gd name="connsiteX45" fmla="*/ 896689 w 1279525"/>
              <a:gd name="connsiteY45" fmla="*/ 627029 h 1277938"/>
              <a:gd name="connsiteX46" fmla="*/ 982262 w 1279525"/>
              <a:gd name="connsiteY46" fmla="*/ 699096 h 1277938"/>
              <a:gd name="connsiteX47" fmla="*/ 986541 w 1279525"/>
              <a:gd name="connsiteY47" fmla="*/ 699809 h 1277938"/>
              <a:gd name="connsiteX48" fmla="*/ 914517 w 1279525"/>
              <a:gd name="connsiteY48" fmla="*/ 814688 h 1277938"/>
              <a:gd name="connsiteX49" fmla="*/ 888132 w 1279525"/>
              <a:gd name="connsiteY49" fmla="*/ 945264 h 1277938"/>
              <a:gd name="connsiteX50" fmla="*/ 775461 w 1279525"/>
              <a:gd name="connsiteY50" fmla="*/ 1075840 h 1277938"/>
              <a:gd name="connsiteX51" fmla="*/ 660650 w 1279525"/>
              <a:gd name="connsiteY51" fmla="*/ 971665 h 1277938"/>
              <a:gd name="connsiteX52" fmla="*/ 639970 w 1279525"/>
              <a:gd name="connsiteY52" fmla="*/ 903166 h 1277938"/>
              <a:gd name="connsiteX53" fmla="*/ 621429 w 1279525"/>
              <a:gd name="connsiteY53" fmla="*/ 792568 h 1277938"/>
              <a:gd name="connsiteX54" fmla="*/ 618577 w 1279525"/>
              <a:gd name="connsiteY54" fmla="*/ 790428 h 1277938"/>
              <a:gd name="connsiteX55" fmla="*/ 400365 w 1279525"/>
              <a:gd name="connsiteY55" fmla="*/ 594207 h 1277938"/>
              <a:gd name="connsiteX56" fmla="*/ 518741 w 1279525"/>
              <a:gd name="connsiteY56" fmla="*/ 477901 h 1277938"/>
              <a:gd name="connsiteX57" fmla="*/ 518741 w 1279525"/>
              <a:gd name="connsiteY57" fmla="*/ 473620 h 1277938"/>
              <a:gd name="connsiteX58" fmla="*/ 506619 w 1279525"/>
              <a:gd name="connsiteY58" fmla="*/ 437230 h 1277938"/>
              <a:gd name="connsiteX59" fmla="*/ 624282 w 1279525"/>
              <a:gd name="connsiteY59" fmla="*/ 338049 h 1277938"/>
              <a:gd name="connsiteX60" fmla="*/ 625708 w 1279525"/>
              <a:gd name="connsiteY60" fmla="*/ 336622 h 1277938"/>
              <a:gd name="connsiteX61" fmla="*/ 654232 w 1279525"/>
              <a:gd name="connsiteY61" fmla="*/ 262415 h 1277938"/>
              <a:gd name="connsiteX62" fmla="*/ 742658 w 1279525"/>
              <a:gd name="connsiteY62" fmla="*/ 201052 h 1277938"/>
              <a:gd name="connsiteX63" fmla="*/ 594331 w 1279525"/>
              <a:gd name="connsiteY63" fmla="*/ 218176 h 1277938"/>
              <a:gd name="connsiteX64" fmla="*/ 459553 w 1279525"/>
              <a:gd name="connsiteY64" fmla="*/ 231733 h 1277938"/>
              <a:gd name="connsiteX65" fmla="*/ 554397 w 1279525"/>
              <a:gd name="connsiteY65" fmla="*/ 151818 h 1277938"/>
              <a:gd name="connsiteX66" fmla="*/ 555823 w 1279525"/>
              <a:gd name="connsiteY66" fmla="*/ 71189 h 1277938"/>
              <a:gd name="connsiteX67" fmla="*/ 557249 w 1279525"/>
              <a:gd name="connsiteY67" fmla="*/ 67621 h 1277938"/>
              <a:gd name="connsiteX68" fmla="*/ 639970 w 1279525"/>
              <a:gd name="connsiteY68" fmla="*/ 61913 h 1277938"/>
              <a:gd name="connsiteX69" fmla="*/ 639763 w 1279525"/>
              <a:gd name="connsiteY69" fmla="*/ 31750 h 1277938"/>
              <a:gd name="connsiteX70" fmla="*/ 210158 w 1279525"/>
              <a:gd name="connsiteY70" fmla="*/ 210367 h 1277938"/>
              <a:gd name="connsiteX71" fmla="*/ 31750 w 1279525"/>
              <a:gd name="connsiteY71" fmla="*/ 639763 h 1277938"/>
              <a:gd name="connsiteX72" fmla="*/ 210158 w 1279525"/>
              <a:gd name="connsiteY72" fmla="*/ 1069873 h 1277938"/>
              <a:gd name="connsiteX73" fmla="*/ 639763 w 1279525"/>
              <a:gd name="connsiteY73" fmla="*/ 1247775 h 1277938"/>
              <a:gd name="connsiteX74" fmla="*/ 1069368 w 1279525"/>
              <a:gd name="connsiteY74" fmla="*/ 1069873 h 1277938"/>
              <a:gd name="connsiteX75" fmla="*/ 1247775 w 1279525"/>
              <a:gd name="connsiteY75" fmla="*/ 639763 h 1277938"/>
              <a:gd name="connsiteX76" fmla="*/ 1069368 w 1279525"/>
              <a:gd name="connsiteY76" fmla="*/ 210367 h 1277938"/>
              <a:gd name="connsiteX77" fmla="*/ 639763 w 1279525"/>
              <a:gd name="connsiteY77" fmla="*/ 31750 h 1277938"/>
              <a:gd name="connsiteX78" fmla="*/ 639763 w 1279525"/>
              <a:gd name="connsiteY78" fmla="*/ 0 h 1277938"/>
              <a:gd name="connsiteX79" fmla="*/ 1091738 w 1279525"/>
              <a:gd name="connsiteY79" fmla="*/ 187764 h 1277938"/>
              <a:gd name="connsiteX80" fmla="*/ 1279525 w 1279525"/>
              <a:gd name="connsiteY80" fmla="*/ 638969 h 1277938"/>
              <a:gd name="connsiteX81" fmla="*/ 1091738 w 1279525"/>
              <a:gd name="connsiteY81" fmla="*/ 1090888 h 1277938"/>
              <a:gd name="connsiteX82" fmla="*/ 639763 w 1279525"/>
              <a:gd name="connsiteY82" fmla="*/ 1277938 h 1277938"/>
              <a:gd name="connsiteX83" fmla="*/ 187788 w 1279525"/>
              <a:gd name="connsiteY83" fmla="*/ 1090888 h 1277938"/>
              <a:gd name="connsiteX84" fmla="*/ 0 w 1279525"/>
              <a:gd name="connsiteY84" fmla="*/ 638969 h 1277938"/>
              <a:gd name="connsiteX85" fmla="*/ 187788 w 1279525"/>
              <a:gd name="connsiteY85" fmla="*/ 187050 h 1277938"/>
              <a:gd name="connsiteX86" fmla="*/ 639763 w 1279525"/>
              <a:gd name="connsiteY86" fmla="*/ 0 h 1277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79525" h="1277938">
                <a:moveTo>
                  <a:pt x="594459" y="1135460"/>
                </a:moveTo>
                <a:cubicBezTo>
                  <a:pt x="659994" y="1139746"/>
                  <a:pt x="699885" y="1136889"/>
                  <a:pt x="739064" y="1206183"/>
                </a:cubicBezTo>
                <a:cubicBezTo>
                  <a:pt x="739776" y="1207612"/>
                  <a:pt x="738352" y="1209755"/>
                  <a:pt x="736927" y="1209755"/>
                </a:cubicBezTo>
                <a:cubicBezTo>
                  <a:pt x="705584" y="1214756"/>
                  <a:pt x="672816" y="1217613"/>
                  <a:pt x="640048" y="1217613"/>
                </a:cubicBezTo>
                <a:cubicBezTo>
                  <a:pt x="600157" y="1217613"/>
                  <a:pt x="560979" y="1214041"/>
                  <a:pt x="523937" y="1206183"/>
                </a:cubicBezTo>
                <a:cubicBezTo>
                  <a:pt x="491882" y="1198325"/>
                  <a:pt x="468374" y="1191181"/>
                  <a:pt x="462676" y="1189753"/>
                </a:cubicBezTo>
                <a:cubicBezTo>
                  <a:pt x="461963" y="1189753"/>
                  <a:pt x="461963" y="1189753"/>
                  <a:pt x="461963" y="1189753"/>
                </a:cubicBezTo>
                <a:cubicBezTo>
                  <a:pt x="462676" y="1189038"/>
                  <a:pt x="528923" y="1131888"/>
                  <a:pt x="594459" y="1135460"/>
                </a:cubicBezTo>
                <a:close/>
                <a:moveTo>
                  <a:pt x="960086" y="865188"/>
                </a:moveTo>
                <a:cubicBezTo>
                  <a:pt x="960800" y="865188"/>
                  <a:pt x="960800" y="865188"/>
                  <a:pt x="960800" y="865188"/>
                </a:cubicBezTo>
                <a:cubicBezTo>
                  <a:pt x="1020763" y="875159"/>
                  <a:pt x="1004345" y="915044"/>
                  <a:pt x="975791" y="959203"/>
                </a:cubicBezTo>
                <a:cubicBezTo>
                  <a:pt x="951520" y="996951"/>
                  <a:pt x="922966" y="988404"/>
                  <a:pt x="915828" y="984843"/>
                </a:cubicBezTo>
                <a:cubicBezTo>
                  <a:pt x="914400" y="984131"/>
                  <a:pt x="914400" y="983419"/>
                  <a:pt x="914400" y="981994"/>
                </a:cubicBezTo>
                <a:cubicBezTo>
                  <a:pt x="916542" y="972735"/>
                  <a:pt x="925108" y="930714"/>
                  <a:pt x="925108" y="901512"/>
                </a:cubicBezTo>
                <a:cubicBezTo>
                  <a:pt x="925108" y="870886"/>
                  <a:pt x="955803" y="865188"/>
                  <a:pt x="960086" y="865188"/>
                </a:cubicBezTo>
                <a:close/>
                <a:moveTo>
                  <a:pt x="68883" y="554038"/>
                </a:moveTo>
                <a:cubicBezTo>
                  <a:pt x="87427" y="556185"/>
                  <a:pt x="129508" y="566921"/>
                  <a:pt x="141632" y="613442"/>
                </a:cubicBezTo>
                <a:cubicBezTo>
                  <a:pt x="156610" y="672847"/>
                  <a:pt x="178720" y="748712"/>
                  <a:pt x="218661" y="773046"/>
                </a:cubicBezTo>
                <a:cubicBezTo>
                  <a:pt x="257175" y="795949"/>
                  <a:pt x="231499" y="912611"/>
                  <a:pt x="230072" y="920483"/>
                </a:cubicBezTo>
                <a:cubicBezTo>
                  <a:pt x="229359" y="921199"/>
                  <a:pt x="229359" y="921199"/>
                  <a:pt x="230072" y="921915"/>
                </a:cubicBezTo>
                <a:cubicBezTo>
                  <a:pt x="230072" y="921915"/>
                  <a:pt x="230072" y="921915"/>
                  <a:pt x="247903" y="1059332"/>
                </a:cubicBezTo>
                <a:cubicBezTo>
                  <a:pt x="247903" y="1061479"/>
                  <a:pt x="245050" y="1063626"/>
                  <a:pt x="243623" y="1061479"/>
                </a:cubicBezTo>
                <a:cubicBezTo>
                  <a:pt x="130934" y="955553"/>
                  <a:pt x="60325" y="805969"/>
                  <a:pt x="60325" y="639208"/>
                </a:cubicBezTo>
                <a:cubicBezTo>
                  <a:pt x="60325" y="611295"/>
                  <a:pt x="62464" y="583382"/>
                  <a:pt x="66031" y="556185"/>
                </a:cubicBezTo>
                <a:cubicBezTo>
                  <a:pt x="66031" y="554754"/>
                  <a:pt x="67457" y="554038"/>
                  <a:pt x="68883" y="554038"/>
                </a:cubicBezTo>
                <a:close/>
                <a:moveTo>
                  <a:pt x="357733" y="136368"/>
                </a:moveTo>
                <a:cubicBezTo>
                  <a:pt x="359162" y="134938"/>
                  <a:pt x="361306" y="136368"/>
                  <a:pt x="361306" y="138513"/>
                </a:cubicBezTo>
                <a:cubicBezTo>
                  <a:pt x="361306" y="150665"/>
                  <a:pt x="362021" y="188554"/>
                  <a:pt x="378456" y="222868"/>
                </a:cubicBezTo>
                <a:cubicBezTo>
                  <a:pt x="398463" y="265046"/>
                  <a:pt x="387030" y="359410"/>
                  <a:pt x="334152" y="364414"/>
                </a:cubicBezTo>
                <a:cubicBezTo>
                  <a:pt x="280560" y="368704"/>
                  <a:pt x="214106" y="393010"/>
                  <a:pt x="198386" y="435188"/>
                </a:cubicBezTo>
                <a:cubicBezTo>
                  <a:pt x="184810" y="473076"/>
                  <a:pt x="108352" y="462353"/>
                  <a:pt x="92631" y="459493"/>
                </a:cubicBezTo>
                <a:cubicBezTo>
                  <a:pt x="91202" y="459493"/>
                  <a:pt x="90488" y="458064"/>
                  <a:pt x="91202" y="456634"/>
                </a:cubicBezTo>
                <a:cubicBezTo>
                  <a:pt x="91202" y="454489"/>
                  <a:pt x="92631" y="450915"/>
                  <a:pt x="94061" y="446626"/>
                </a:cubicBezTo>
                <a:cubicBezTo>
                  <a:pt x="141221" y="314373"/>
                  <a:pt x="235543" y="204281"/>
                  <a:pt x="357733" y="136368"/>
                </a:cubicBezTo>
                <a:close/>
                <a:moveTo>
                  <a:pt x="639970" y="61913"/>
                </a:moveTo>
                <a:cubicBezTo>
                  <a:pt x="838214" y="61913"/>
                  <a:pt x="1013639" y="161807"/>
                  <a:pt x="1117753" y="314503"/>
                </a:cubicBezTo>
                <a:cubicBezTo>
                  <a:pt x="1174802" y="403694"/>
                  <a:pt x="1197621" y="486464"/>
                  <a:pt x="1202613" y="504302"/>
                </a:cubicBezTo>
                <a:cubicBezTo>
                  <a:pt x="1202613" y="505016"/>
                  <a:pt x="1202613" y="505729"/>
                  <a:pt x="1202613" y="506443"/>
                </a:cubicBezTo>
                <a:cubicBezTo>
                  <a:pt x="1203326" y="507156"/>
                  <a:pt x="1202613" y="508583"/>
                  <a:pt x="1201187" y="509297"/>
                </a:cubicBezTo>
                <a:cubicBezTo>
                  <a:pt x="1193343" y="513578"/>
                  <a:pt x="1158400" y="535697"/>
                  <a:pt x="1146991" y="579936"/>
                </a:cubicBezTo>
                <a:cubicBezTo>
                  <a:pt x="1133442" y="629170"/>
                  <a:pt x="1107056" y="622748"/>
                  <a:pt x="1091368" y="579936"/>
                </a:cubicBezTo>
                <a:cubicBezTo>
                  <a:pt x="1080671" y="549968"/>
                  <a:pt x="1047155" y="537125"/>
                  <a:pt x="1027901" y="532843"/>
                </a:cubicBezTo>
                <a:cubicBezTo>
                  <a:pt x="1025762" y="532130"/>
                  <a:pt x="1023623" y="535697"/>
                  <a:pt x="1026475" y="537125"/>
                </a:cubicBezTo>
                <a:cubicBezTo>
                  <a:pt x="1064270" y="564952"/>
                  <a:pt x="1023623" y="602056"/>
                  <a:pt x="978697" y="640586"/>
                </a:cubicBezTo>
                <a:cubicBezTo>
                  <a:pt x="945181" y="669128"/>
                  <a:pt x="915943" y="643441"/>
                  <a:pt x="900968" y="624175"/>
                </a:cubicBezTo>
                <a:cubicBezTo>
                  <a:pt x="899542" y="622035"/>
                  <a:pt x="895976" y="624175"/>
                  <a:pt x="896689" y="627029"/>
                </a:cubicBezTo>
                <a:cubicBezTo>
                  <a:pt x="935910" y="732632"/>
                  <a:pt x="972279" y="709085"/>
                  <a:pt x="982262" y="699096"/>
                </a:cubicBezTo>
                <a:cubicBezTo>
                  <a:pt x="983689" y="697669"/>
                  <a:pt x="986541" y="698382"/>
                  <a:pt x="986541" y="699809"/>
                </a:cubicBezTo>
                <a:cubicBezTo>
                  <a:pt x="999377" y="752611"/>
                  <a:pt x="936623" y="778298"/>
                  <a:pt x="914517" y="814688"/>
                </a:cubicBezTo>
                <a:cubicBezTo>
                  <a:pt x="893124" y="851792"/>
                  <a:pt x="888845" y="940983"/>
                  <a:pt x="888132" y="945264"/>
                </a:cubicBezTo>
                <a:cubicBezTo>
                  <a:pt x="887419" y="948832"/>
                  <a:pt x="874583" y="1017331"/>
                  <a:pt x="775461" y="1075840"/>
                </a:cubicBezTo>
                <a:cubicBezTo>
                  <a:pt x="674199" y="1135063"/>
                  <a:pt x="662789" y="1003060"/>
                  <a:pt x="660650" y="971665"/>
                </a:cubicBezTo>
                <a:cubicBezTo>
                  <a:pt x="658511" y="940983"/>
                  <a:pt x="658511" y="912442"/>
                  <a:pt x="639970" y="903166"/>
                </a:cubicBezTo>
                <a:cubicBezTo>
                  <a:pt x="622855" y="895317"/>
                  <a:pt x="621429" y="808266"/>
                  <a:pt x="621429" y="792568"/>
                </a:cubicBezTo>
                <a:cubicBezTo>
                  <a:pt x="621429" y="791855"/>
                  <a:pt x="620003" y="790428"/>
                  <a:pt x="618577" y="790428"/>
                </a:cubicBezTo>
                <a:cubicBezTo>
                  <a:pt x="354013" y="756892"/>
                  <a:pt x="413201" y="671268"/>
                  <a:pt x="400365" y="594207"/>
                </a:cubicBezTo>
                <a:cubicBezTo>
                  <a:pt x="389669" y="532843"/>
                  <a:pt x="480234" y="492172"/>
                  <a:pt x="518741" y="477901"/>
                </a:cubicBezTo>
                <a:cubicBezTo>
                  <a:pt x="520881" y="477188"/>
                  <a:pt x="520881" y="474334"/>
                  <a:pt x="518741" y="473620"/>
                </a:cubicBezTo>
                <a:cubicBezTo>
                  <a:pt x="513037" y="470053"/>
                  <a:pt x="507332" y="460777"/>
                  <a:pt x="506619" y="437230"/>
                </a:cubicBezTo>
                <a:cubicBezTo>
                  <a:pt x="504479" y="387283"/>
                  <a:pt x="612159" y="343044"/>
                  <a:pt x="624282" y="338049"/>
                </a:cubicBezTo>
                <a:cubicBezTo>
                  <a:pt x="624995" y="338049"/>
                  <a:pt x="625708" y="337336"/>
                  <a:pt x="625708" y="336622"/>
                </a:cubicBezTo>
                <a:cubicBezTo>
                  <a:pt x="628560" y="327347"/>
                  <a:pt x="647814" y="262415"/>
                  <a:pt x="654232" y="262415"/>
                </a:cubicBezTo>
                <a:cubicBezTo>
                  <a:pt x="660650" y="262415"/>
                  <a:pt x="760485" y="229593"/>
                  <a:pt x="742658" y="201052"/>
                </a:cubicBezTo>
                <a:cubicBezTo>
                  <a:pt x="724830" y="171797"/>
                  <a:pt x="643536" y="191776"/>
                  <a:pt x="594331" y="218176"/>
                </a:cubicBezTo>
                <a:cubicBezTo>
                  <a:pt x="545840" y="244577"/>
                  <a:pt x="473102" y="266696"/>
                  <a:pt x="459553" y="231733"/>
                </a:cubicBezTo>
                <a:cubicBezTo>
                  <a:pt x="446717" y="196057"/>
                  <a:pt x="523733" y="167516"/>
                  <a:pt x="554397" y="151818"/>
                </a:cubicBezTo>
                <a:cubicBezTo>
                  <a:pt x="580782" y="138261"/>
                  <a:pt x="560815" y="84746"/>
                  <a:pt x="555823" y="71189"/>
                </a:cubicBezTo>
                <a:cubicBezTo>
                  <a:pt x="555110" y="69762"/>
                  <a:pt x="555823" y="68335"/>
                  <a:pt x="557249" y="67621"/>
                </a:cubicBezTo>
                <a:cubicBezTo>
                  <a:pt x="584347" y="64054"/>
                  <a:pt x="612159" y="61913"/>
                  <a:pt x="639970" y="61913"/>
                </a:cubicBezTo>
                <a:close/>
                <a:moveTo>
                  <a:pt x="639763" y="31750"/>
                </a:moveTo>
                <a:cubicBezTo>
                  <a:pt x="477769" y="31750"/>
                  <a:pt x="324338" y="95338"/>
                  <a:pt x="210158" y="210367"/>
                </a:cubicBezTo>
                <a:cubicBezTo>
                  <a:pt x="94550" y="324682"/>
                  <a:pt x="31750" y="477578"/>
                  <a:pt x="31750" y="639763"/>
                </a:cubicBezTo>
                <a:cubicBezTo>
                  <a:pt x="31750" y="801947"/>
                  <a:pt x="94550" y="955558"/>
                  <a:pt x="210158" y="1069873"/>
                </a:cubicBezTo>
                <a:cubicBezTo>
                  <a:pt x="324338" y="1184902"/>
                  <a:pt x="477769" y="1247775"/>
                  <a:pt x="639763" y="1247775"/>
                </a:cubicBezTo>
                <a:cubicBezTo>
                  <a:pt x="801757" y="1247775"/>
                  <a:pt x="955187" y="1184902"/>
                  <a:pt x="1069368" y="1069873"/>
                </a:cubicBezTo>
                <a:cubicBezTo>
                  <a:pt x="1184976" y="955558"/>
                  <a:pt x="1247775" y="801947"/>
                  <a:pt x="1247775" y="639763"/>
                </a:cubicBezTo>
                <a:cubicBezTo>
                  <a:pt x="1247775" y="477578"/>
                  <a:pt x="1184976" y="324682"/>
                  <a:pt x="1069368" y="210367"/>
                </a:cubicBezTo>
                <a:cubicBezTo>
                  <a:pt x="955187" y="95338"/>
                  <a:pt x="801757" y="31750"/>
                  <a:pt x="639763" y="31750"/>
                </a:cubicBezTo>
                <a:close/>
                <a:moveTo>
                  <a:pt x="639763" y="0"/>
                </a:moveTo>
                <a:cubicBezTo>
                  <a:pt x="811128" y="0"/>
                  <a:pt x="971782" y="66396"/>
                  <a:pt x="1091738" y="187764"/>
                </a:cubicBezTo>
                <a:cubicBezTo>
                  <a:pt x="1213121" y="307705"/>
                  <a:pt x="1279525" y="468339"/>
                  <a:pt x="1279525" y="638969"/>
                </a:cubicBezTo>
                <a:cubicBezTo>
                  <a:pt x="1279525" y="810313"/>
                  <a:pt x="1213121" y="970947"/>
                  <a:pt x="1091738" y="1090888"/>
                </a:cubicBezTo>
                <a:cubicBezTo>
                  <a:pt x="971782" y="1211543"/>
                  <a:pt x="811128" y="1277938"/>
                  <a:pt x="639763" y="1277938"/>
                </a:cubicBezTo>
                <a:cubicBezTo>
                  <a:pt x="468398" y="1277938"/>
                  <a:pt x="307743" y="1211543"/>
                  <a:pt x="187788" y="1090888"/>
                </a:cubicBezTo>
                <a:cubicBezTo>
                  <a:pt x="66404" y="970947"/>
                  <a:pt x="0" y="810313"/>
                  <a:pt x="0" y="638969"/>
                </a:cubicBezTo>
                <a:cubicBezTo>
                  <a:pt x="0" y="468339"/>
                  <a:pt x="66404" y="307705"/>
                  <a:pt x="187788" y="187050"/>
                </a:cubicBezTo>
                <a:cubicBezTo>
                  <a:pt x="307743" y="66396"/>
                  <a:pt x="468398" y="0"/>
                  <a:pt x="639763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15B2A">
                  <a:lumMod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3" descr="C:\Users\saurabh.sanghi\Desktop\hoot.jpg"/>
          <p:cNvPicPr>
            <a:picLocks noChangeAspect="1" noChangeArrowheads="1"/>
          </p:cNvPicPr>
          <p:nvPr/>
        </p:nvPicPr>
        <p:blipFill>
          <a:blip r:embed="rId11" cstate="email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81481" y="5262113"/>
            <a:ext cx="500281" cy="500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2A5E02AD-7969-8049-9206-3BE438EEA5C6}"/>
              </a:ext>
            </a:extLst>
          </p:cNvPr>
          <p:cNvSpPr/>
          <p:nvPr/>
        </p:nvSpPr>
        <p:spPr>
          <a:xfrm>
            <a:off x="579321" y="5295778"/>
            <a:ext cx="1230474" cy="1003008"/>
          </a:xfrm>
          <a:prstGeom prst="rect">
            <a:avLst/>
          </a:prstGeom>
          <a:solidFill>
            <a:srgbClr val="1F458C"/>
          </a:solidFill>
          <a:ln>
            <a:solidFill>
              <a:srgbClr val="1F458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090" tIns="35046" rIns="70090" bIns="35046" rtlCol="0" anchor="ctr"/>
          <a:lstStyle/>
          <a:p>
            <a:pPr marL="0" marR="0" lvl="0" indent="0" algn="ctr" defTabSz="799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5700"/>
              </a:buClr>
              <a:buSzPct val="75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eisure &amp; Hospitality</a:t>
            </a:r>
          </a:p>
        </p:txBody>
      </p:sp>
      <p:pic>
        <p:nvPicPr>
          <p:cNvPr id="54" name="Picture 38" descr="princess_logo.gif">
            <a:extLst>
              <a:ext uri="{FF2B5EF4-FFF2-40B4-BE49-F238E27FC236}">
                <a16:creationId xmlns:a16="http://schemas.microsoft.com/office/drawing/2014/main" id="{F2332516-A44F-B548-B349-561C496CDD71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5769" y="5727114"/>
            <a:ext cx="908047" cy="41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Picture 3" descr="C:\Users\suman.verma\Desktop\Carnival_Cruise_Line_Logo.svg.png">
            <a:extLst>
              <a:ext uri="{FF2B5EF4-FFF2-40B4-BE49-F238E27FC236}">
                <a16:creationId xmlns:a16="http://schemas.microsoft.com/office/drawing/2014/main" id="{FAD5AC32-8385-EA4C-9CE4-C0966B6619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1173" y="5944656"/>
            <a:ext cx="809224" cy="221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://upload.wikimedia.org/wikipedia/en/2/24/Viking_Cruises_transparent_logo.png">
            <a:extLst>
              <a:ext uri="{FF2B5EF4-FFF2-40B4-BE49-F238E27FC236}">
                <a16:creationId xmlns:a16="http://schemas.microsoft.com/office/drawing/2014/main" id="{11B95BD2-51F9-9141-A357-B7BE2FA850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r:link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29466" y="5327050"/>
            <a:ext cx="636635" cy="370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11"/>
          <p:cNvPicPr>
            <a:picLocks noChangeAspect="1" noChangeArrowheads="1"/>
          </p:cNvPicPr>
          <p:nvPr/>
        </p:nvPicPr>
        <p:blipFill rotWithShape="1">
          <a:blip r:embed="rId16" cstate="email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51766" y="5372363"/>
            <a:ext cx="522725" cy="2797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" name="Picture 5" descr="C:\Users\saurabh.sanghi\Desktop\download.png"/>
          <p:cNvPicPr>
            <a:picLocks noChangeAspect="1" noChangeArrowheads="1"/>
          </p:cNvPicPr>
          <p:nvPr/>
        </p:nvPicPr>
        <p:blipFill>
          <a:blip r:embed="rId17" cstate="email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9724" y="5334212"/>
            <a:ext cx="983846" cy="35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8" descr="C:\Users\saurabh.sanghi\Desktop\download (1).png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60605" y="5876785"/>
            <a:ext cx="1221263" cy="223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19" cstate="email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8196" y="5760853"/>
            <a:ext cx="962042" cy="441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Picture 5"/>
          <p:cNvPicPr>
            <a:picLocks noChangeAspect="1" noChangeArrowheads="1"/>
          </p:cNvPicPr>
          <p:nvPr/>
        </p:nvPicPr>
        <p:blipFill rotWithShape="1">
          <a:blip r:embed="rId20" cstate="email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04783" y="5373221"/>
            <a:ext cx="892085" cy="278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" name="Picture 26" descr="E:\00Data\Icons\Logos\Marriott_logo.pn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1060" y="5341729"/>
            <a:ext cx="773342" cy="34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" descr="C:\Users\saurabh.sanghi\Desktop\logo.png"/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87693" y="5920726"/>
            <a:ext cx="955415" cy="134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8" name="Picture 4" descr="Accor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861" y="5844234"/>
            <a:ext cx="1501273" cy="274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7884" name="Picture 12" descr="Choice Hotels International to Report 2019 Fourth Quarter and ..."/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2869" y="5791463"/>
            <a:ext cx="672396" cy="412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25" descr="E:\00Data\Icons\Logos\rhg.w.jpg"/>
          <p:cNvPicPr>
            <a:picLocks noChangeAspect="1" noChangeArrowheads="1"/>
          </p:cNvPicPr>
          <p:nvPr/>
        </p:nvPicPr>
        <p:blipFill rotWithShape="1">
          <a:blip r:embed="rId25" cstate="email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46841" y="5341648"/>
            <a:ext cx="984304" cy="29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52897" name="Picture 65" descr="File:OYO Rooms (logo).png - Wikimedia Commons"/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98" b="24477"/>
          <a:stretch/>
        </p:blipFill>
        <p:spPr bwMode="auto">
          <a:xfrm>
            <a:off x="7243510" y="5297942"/>
            <a:ext cx="861993" cy="428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98"/>
          <p:cNvPicPr>
            <a:picLocks noChangeAspect="1"/>
          </p:cNvPicPr>
          <p:nvPr/>
        </p:nvPicPr>
        <p:blipFill rotWithShape="1"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01" t="33836" r="10101" b="32593"/>
          <a:stretch/>
        </p:blipFill>
        <p:spPr>
          <a:xfrm>
            <a:off x="8314918" y="5360471"/>
            <a:ext cx="1281726" cy="30356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E82D4CA-F1CB-E64A-BB45-FB5F6822E17D}"/>
              </a:ext>
            </a:extLst>
          </p:cNvPr>
          <p:cNvSpPr/>
          <p:nvPr/>
        </p:nvSpPr>
        <p:spPr>
          <a:xfrm>
            <a:off x="579321" y="4065094"/>
            <a:ext cx="1230474" cy="979573"/>
          </a:xfrm>
          <a:prstGeom prst="rect">
            <a:avLst/>
          </a:prstGeom>
          <a:solidFill>
            <a:srgbClr val="1F458C"/>
          </a:solidFill>
          <a:ln>
            <a:solidFill>
              <a:srgbClr val="1F458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090" tIns="35046" rIns="70090" bIns="35046" rtlCol="0" anchor="ctr"/>
          <a:lstStyle/>
          <a:p>
            <a:pPr marL="0" marR="0" lvl="0" indent="0" algn="ctr" defTabSz="799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5700"/>
              </a:buClr>
              <a:buSzPct val="75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ternet Companies</a:t>
            </a:r>
          </a:p>
        </p:txBody>
      </p:sp>
      <p:pic>
        <p:nvPicPr>
          <p:cNvPr id="36" name="Picture 5" descr="http://t2.gstatic.com/images?q=tbn:ANd9GcTfVToVj6Ruuf6N4MgfyKQx_tWIU6M1IKri6leYUAnrLc5buYbu">
            <a:extLst>
              <a:ext uri="{FF2B5EF4-FFF2-40B4-BE49-F238E27FC236}">
                <a16:creationId xmlns:a16="http://schemas.microsoft.com/office/drawing/2014/main" id="{DAAF0A55-51A3-0145-9D93-0889070E2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4150" y="4161405"/>
            <a:ext cx="772525" cy="224608"/>
          </a:xfrm>
          <a:prstGeom prst="rect">
            <a:avLst/>
          </a:prstGeom>
          <a:noFill/>
        </p:spPr>
      </p:pic>
      <p:pic>
        <p:nvPicPr>
          <p:cNvPr id="37" name="Picture 148">
            <a:extLst>
              <a:ext uri="{FF2B5EF4-FFF2-40B4-BE49-F238E27FC236}">
                <a16:creationId xmlns:a16="http://schemas.microsoft.com/office/drawing/2014/main" id="{7E113D73-E71F-DF4E-9EA1-3D2A59E7C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5523" y="4540306"/>
            <a:ext cx="643374" cy="261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8" descr="webjet2">
            <a:extLst>
              <a:ext uri="{FF2B5EF4-FFF2-40B4-BE49-F238E27FC236}">
                <a16:creationId xmlns:a16="http://schemas.microsoft.com/office/drawing/2014/main" id="{FCFF029D-6A68-2F4A-8CEE-11EABA8CF9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09660" y="4026306"/>
            <a:ext cx="907610" cy="316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178">
            <a:extLst>
              <a:ext uri="{FF2B5EF4-FFF2-40B4-BE49-F238E27FC236}">
                <a16:creationId xmlns:a16="http://schemas.microsoft.com/office/drawing/2014/main" id="{E515EC5E-DF8D-1143-BC8B-43184647C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0827" y="4524428"/>
            <a:ext cx="817918" cy="226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19" descr="Image result for house of travel">
            <a:extLst>
              <a:ext uri="{FF2B5EF4-FFF2-40B4-BE49-F238E27FC236}">
                <a16:creationId xmlns:a16="http://schemas.microsoft.com/office/drawing/2014/main" id="{90C15522-4BF7-3048-9A36-79ED2FD2F3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49967" y="4095694"/>
            <a:ext cx="783894" cy="238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84B02BB6-D86A-E94F-BFE3-A6CC121D916D}"/>
              </a:ext>
            </a:extLst>
          </p:cNvPr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7453" y="4725054"/>
            <a:ext cx="509014" cy="266294"/>
          </a:xfrm>
          <a:prstGeom prst="rect">
            <a:avLst/>
          </a:prstGeom>
        </p:spPr>
      </p:pic>
      <p:pic>
        <p:nvPicPr>
          <p:cNvPr id="43" name="Picture 4" descr="Image result for cleartrip logo">
            <a:extLst>
              <a:ext uri="{FF2B5EF4-FFF2-40B4-BE49-F238E27FC236}">
                <a16:creationId xmlns:a16="http://schemas.microsoft.com/office/drawing/2014/main" id="{AD522A0E-AD7A-BF4B-9C1D-EA4F66304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47873" y="4841144"/>
            <a:ext cx="667990" cy="265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7"/>
          <p:cNvPicPr>
            <a:picLocks noChangeAspect="1" noChangeArrowheads="1"/>
          </p:cNvPicPr>
          <p:nvPr/>
        </p:nvPicPr>
        <p:blipFill>
          <a:blip r:embed="rId35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6463" y="4458802"/>
            <a:ext cx="1282842" cy="343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" name="Picture 9" descr="C:\Users\saurabh.sanghi\Desktop\goibibo-logo.jpg"/>
          <p:cNvPicPr>
            <a:picLocks noChangeAspect="1" noChangeArrowheads="1"/>
          </p:cNvPicPr>
          <p:nvPr/>
        </p:nvPicPr>
        <p:blipFill>
          <a:blip r:embed="rId36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9365" y="4435608"/>
            <a:ext cx="711895" cy="397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0"/>
          <p:cNvPicPr>
            <a:picLocks noChangeAspect="1" noChangeArrowheads="1"/>
          </p:cNvPicPr>
          <p:nvPr/>
        </p:nvPicPr>
        <p:blipFill>
          <a:blip r:embed="rId37" cstate="email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0819" y="4198338"/>
            <a:ext cx="900947" cy="160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21"/>
          <p:cNvPicPr>
            <a:picLocks noChangeAspect="1" noChangeArrowheads="1"/>
          </p:cNvPicPr>
          <p:nvPr/>
        </p:nvPicPr>
        <p:blipFill>
          <a:blip r:embed="rId38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69531" y="4025887"/>
            <a:ext cx="797732" cy="269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5" name="Picture 2"/>
          <p:cNvPicPr>
            <a:picLocks noChangeAspect="1" noChangeArrowheads="1"/>
          </p:cNvPicPr>
          <p:nvPr/>
        </p:nvPicPr>
        <p:blipFill>
          <a:blip r:embed="rId39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5657" y="4169369"/>
            <a:ext cx="520810" cy="279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8" name="Picture 10"/>
          <p:cNvPicPr>
            <a:picLocks noChangeAspect="1" noChangeArrowheads="1"/>
          </p:cNvPicPr>
          <p:nvPr/>
        </p:nvPicPr>
        <p:blipFill rotWithShape="1">
          <a:blip r:embed="rId40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66792" y="4804132"/>
            <a:ext cx="886592" cy="2314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47880" name="Picture 8" descr="eSky.eu - Flights, Airline Tickets, Flight Search, Deals"/>
          <p:cNvPicPr>
            <a:picLocks noChangeAspect="1" noChangeArrowheads="1"/>
          </p:cNvPicPr>
          <p:nvPr/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393" y="3910228"/>
            <a:ext cx="666866" cy="666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7894" name="Picture 22" descr="File:Agoda logo.svg - Wikimedia Commons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220" y="4726791"/>
            <a:ext cx="779679" cy="316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4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51448" y="4669303"/>
            <a:ext cx="1084552" cy="318985"/>
          </a:xfrm>
          <a:prstGeom prst="rect">
            <a:avLst/>
          </a:prstGeom>
        </p:spPr>
      </p:pic>
      <p:pic>
        <p:nvPicPr>
          <p:cNvPr id="2552885" name="Picture 53" descr="Myntra / Perficient, Inc.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2736" y="4055213"/>
            <a:ext cx="1016903" cy="319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52887" name="Picture 55" descr="Noise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7473" y="4761773"/>
            <a:ext cx="1211569" cy="40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52899" name="Picture 67" descr="AiFi - Crunchbase Company Profile &amp; Fundi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6236" y="3903589"/>
            <a:ext cx="659947" cy="659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7882" name="Picture 10" descr="Used Cars for Sale - Find Great Deals with CarGurus - CarGurus"/>
          <p:cNvPicPr>
            <a:picLocks noChangeAspect="1" noChangeArrowheads="1"/>
          </p:cNvPicPr>
          <p:nvPr/>
        </p:nvPicPr>
        <p:blipFill rotWithShape="1"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74" b="25716"/>
          <a:stretch/>
        </p:blipFill>
        <p:spPr bwMode="auto">
          <a:xfrm>
            <a:off x="4090375" y="4538033"/>
            <a:ext cx="737797" cy="290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Walmart logo | Logok">
            <a:extLst>
              <a:ext uri="{FF2B5EF4-FFF2-40B4-BE49-F238E27FC236}">
                <a16:creationId xmlns:a16="http://schemas.microsoft.com/office/drawing/2014/main" id="{9E249478-B164-4A73-A62D-3344C9262B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22" b="27183"/>
          <a:stretch/>
        </p:blipFill>
        <p:spPr bwMode="auto">
          <a:xfrm>
            <a:off x="2510817" y="4283118"/>
            <a:ext cx="599095" cy="16622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1" name="Picture 6" descr="Tokopedia Logo Vector (.AI) Free Download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666" y="4119389"/>
            <a:ext cx="515138" cy="446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10" descr="https://png2.cleanpng.com/sh/fd96663f98c3bed48cac08f1cf19afca/L0KzQYm3VcI1N6l9j5H0aYP2gLBuTfRwcJIyft5yZ3j3PcLolPFzNZJuiulqeYOwd7L7lBlkc15mgeR5b4L3PbLwkvxqdpYyiAZqdHWwg7bqlgJqfKoygdDBZYP3ebjolPlwdqQyi9d7dnnmdX68gsA4OmZrUKcBNEO3QXA3WcE2OGE2UKMAMke0SYa4Usg0PWQ4RuJ3Zx==/kisspng-doha-flight-qatar-airways-gatwick-airport-airline-state-security-investigations-service-5b0725f8564341.0915001815271951283533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1886" y="2011514"/>
            <a:ext cx="651630" cy="651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F08BB15D-F782-FE48-86AF-3720CABBC903}"/>
              </a:ext>
            </a:extLst>
          </p:cNvPr>
          <p:cNvSpPr/>
          <p:nvPr/>
        </p:nvSpPr>
        <p:spPr>
          <a:xfrm>
            <a:off x="579321" y="1393456"/>
            <a:ext cx="1230474" cy="1247836"/>
          </a:xfrm>
          <a:prstGeom prst="rect">
            <a:avLst/>
          </a:prstGeom>
          <a:solidFill>
            <a:srgbClr val="1F458C"/>
          </a:solidFill>
          <a:ln>
            <a:solidFill>
              <a:srgbClr val="1F458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090" tIns="35046" rIns="70090" bIns="35046" rtlCol="0" anchor="ctr"/>
          <a:lstStyle/>
          <a:p>
            <a:pPr marL="0" marR="0" lvl="0" indent="0" algn="ctr" defTabSz="799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5700"/>
              </a:buClr>
              <a:buSzPct val="75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viation</a:t>
            </a:r>
          </a:p>
        </p:txBody>
      </p:sp>
      <p:pic>
        <p:nvPicPr>
          <p:cNvPr id="104" name="Picture 2"/>
          <p:cNvPicPr>
            <a:picLocks noChangeAspect="1" noChangeArrowheads="1"/>
          </p:cNvPicPr>
          <p:nvPr/>
        </p:nvPicPr>
        <p:blipFill>
          <a:blip r:embed="rId5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0126" y="2016179"/>
            <a:ext cx="1044251" cy="395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8" descr="E:\00Data\Icons\Logos\HK_express_logo_2013.svg.png"/>
          <p:cNvPicPr>
            <a:picLocks noChangeAspect="1" noChangeArrowheads="1"/>
          </p:cNvPicPr>
          <p:nvPr/>
        </p:nvPicPr>
        <p:blipFill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0275" y="1804098"/>
            <a:ext cx="787849" cy="206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19"/>
          <p:cNvPicPr>
            <a:picLocks noChangeAspect="1" noChangeArrowheads="1"/>
          </p:cNvPicPr>
          <p:nvPr/>
        </p:nvPicPr>
        <p:blipFill rotWithShape="1">
          <a:blip r:embed="rId5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04521" y="2268639"/>
            <a:ext cx="1274528" cy="234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9996" y="1795960"/>
            <a:ext cx="1100382" cy="314526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7058EA75-2AF5-C446-BA9C-2A36F12FF043}"/>
              </a:ext>
            </a:extLst>
          </p:cNvPr>
          <p:cNvPicPr>
            <a:picLocks noChangeAspect="1"/>
          </p:cNvPicPr>
          <p:nvPr/>
        </p:nvPicPr>
        <p:blipFill>
          <a:blip r:embed="rId5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2944" y="1410904"/>
            <a:ext cx="574864" cy="183413"/>
          </a:xfrm>
          <a:prstGeom prst="rect">
            <a:avLst/>
          </a:prstGeom>
        </p:spPr>
      </p:pic>
      <p:pic>
        <p:nvPicPr>
          <p:cNvPr id="110" name="Picture 3"/>
          <p:cNvPicPr>
            <a:picLocks noChangeAspect="1" noChangeArrowheads="1"/>
          </p:cNvPicPr>
          <p:nvPr/>
        </p:nvPicPr>
        <p:blipFill>
          <a:blip r:embed="rId5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4189" y="1744428"/>
            <a:ext cx="825544" cy="176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1" name="Picture 2" descr="Related image"/>
          <p:cNvPicPr>
            <a:picLocks noChangeAspect="1" noChangeArrowheads="1"/>
          </p:cNvPicPr>
          <p:nvPr/>
        </p:nvPicPr>
        <p:blipFill>
          <a:blip r:embed="rId5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287" y="1504895"/>
            <a:ext cx="563449" cy="33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7" descr="C:\Users\sandeep.bansal1\Desktop\aa-logo.png">
            <a:extLst>
              <a:ext uri="{FF2B5EF4-FFF2-40B4-BE49-F238E27FC236}">
                <a16:creationId xmlns:a16="http://schemas.microsoft.com/office/drawing/2014/main" id="{A2FB048C-D27A-EE4D-A82B-93DC76EC68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47752" y="2349329"/>
            <a:ext cx="1323022" cy="229733"/>
          </a:xfrm>
          <a:prstGeom prst="rect">
            <a:avLst/>
          </a:prstGeom>
          <a:noFill/>
        </p:spPr>
      </p:pic>
      <p:pic>
        <p:nvPicPr>
          <p:cNvPr id="113" name="Picture 2" descr="Image result for air india logo"/>
          <p:cNvPicPr>
            <a:picLocks noChangeAspect="1" noChangeArrowheads="1"/>
          </p:cNvPicPr>
          <p:nvPr/>
        </p:nvPicPr>
        <p:blipFill>
          <a:blip r:embed="rId5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9422" y="2049589"/>
            <a:ext cx="584002" cy="571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8" descr="https://www.visitusa.org.uk/memberassets/658/icelandair%20logo%201920x1080.jpg"/>
          <p:cNvPicPr>
            <a:picLocks noChangeAspect="1" noChangeArrowheads="1"/>
          </p:cNvPicPr>
          <p:nvPr/>
        </p:nvPicPr>
        <p:blipFill>
          <a:blip r:embed="rId6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7459" y="2174105"/>
            <a:ext cx="1059884" cy="595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14"/>
          <p:cNvPicPr>
            <a:picLocks noChangeAspect="1" noChangeArrowheads="1"/>
          </p:cNvPicPr>
          <p:nvPr/>
        </p:nvPicPr>
        <p:blipFill>
          <a:blip r:embed="rId61" cstate="email">
            <a:clrChange>
              <a:clrFrom>
                <a:srgbClr val="FDFCFF"/>
              </a:clrFrom>
              <a:clrTo>
                <a:srgbClr val="FDF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9408" y="1732984"/>
            <a:ext cx="970315" cy="251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Picture 116" descr="http://www.goodlogo.com/images/logos/skyteam_logo_2671.gif">
            <a:extLst>
              <a:ext uri="{FF2B5EF4-FFF2-40B4-BE49-F238E27FC236}">
                <a16:creationId xmlns:a16="http://schemas.microsoft.com/office/drawing/2014/main" id="{FABC0C17-74F8-1946-BD27-909127781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90113" y="1464834"/>
            <a:ext cx="480528" cy="4786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18" name="Picture 4" descr="http://t1.gstatic.com/images?q=tbn:ANd9GcQc6EfLWbqhIZd_Jn3BeBSfPgh-Bf2-bgLr6wp631XGbmDjfT9Itw">
            <a:extLst>
              <a:ext uri="{FF2B5EF4-FFF2-40B4-BE49-F238E27FC236}">
                <a16:creationId xmlns:a16="http://schemas.microsoft.com/office/drawing/2014/main" id="{8F81B372-DE96-E24B-8F4A-8DF2BB162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8143" y="1907508"/>
            <a:ext cx="801051" cy="211991"/>
          </a:xfrm>
          <a:prstGeom prst="rect">
            <a:avLst/>
          </a:prstGeom>
          <a:noFill/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8498" y="1374780"/>
            <a:ext cx="1046023" cy="332113"/>
          </a:xfrm>
          <a:prstGeom prst="rect">
            <a:avLst/>
          </a:prstGeom>
        </p:spPr>
      </p:pic>
      <p:pic>
        <p:nvPicPr>
          <p:cNvPr id="121" name="Picture 157" descr="C:\Users\jaskiran.singh\Desktop\download.png">
            <a:extLst>
              <a:ext uri="{FF2B5EF4-FFF2-40B4-BE49-F238E27FC236}">
                <a16:creationId xmlns:a16="http://schemas.microsoft.com/office/drawing/2014/main" id="{F92B83AC-1AF3-1C44-A23A-1B9632B898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9626" y="2134463"/>
            <a:ext cx="1224429" cy="23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3"/>
          <p:cNvPicPr>
            <a:picLocks noChangeAspect="1" noChangeArrowheads="1"/>
          </p:cNvPicPr>
          <p:nvPr/>
        </p:nvPicPr>
        <p:blipFill rotWithShape="1">
          <a:blip r:embed="rId6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40"/>
          <a:stretch/>
        </p:blipFill>
        <p:spPr bwMode="auto">
          <a:xfrm>
            <a:off x="4341510" y="1427164"/>
            <a:ext cx="874914" cy="425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" name="Picture 2"/>
          <p:cNvPicPr>
            <a:picLocks noChangeAspect="1" noChangeArrowheads="1"/>
          </p:cNvPicPr>
          <p:nvPr/>
        </p:nvPicPr>
        <p:blipFill rotWithShape="1">
          <a:blip r:embed="rId6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73365" y="1344801"/>
            <a:ext cx="963475" cy="310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5" name="Picture 6" descr="Image result for air france klm logo"/>
          <p:cNvPicPr>
            <a:picLocks noChangeAspect="1" noChangeArrowheads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6920" y="2371482"/>
            <a:ext cx="1455880" cy="238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1"/>
          <p:cNvPicPr>
            <a:picLocks noChangeAspect="1" noChangeArrowheads="1"/>
          </p:cNvPicPr>
          <p:nvPr/>
        </p:nvPicPr>
        <p:blipFill>
          <a:blip r:embed="rId6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80478" y="2029292"/>
            <a:ext cx="507600" cy="53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8" name="Picture 2" descr="AirAsia Logo | evolution history and meaning"/>
          <p:cNvPicPr>
            <a:picLocks noChangeAspect="1" noChangeArrowheads="1"/>
          </p:cNvPicPr>
          <p:nvPr/>
        </p:nvPicPr>
        <p:blipFill rotWithShape="1"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11" t="1" r="20028" b="-1770"/>
          <a:stretch/>
        </p:blipFill>
        <p:spPr bwMode="auto">
          <a:xfrm>
            <a:off x="9676970" y="1713543"/>
            <a:ext cx="466311" cy="460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1">
            <a:extLst>
              <a:ext uri="{FF2B5EF4-FFF2-40B4-BE49-F238E27FC236}">
                <a16:creationId xmlns:a16="http://schemas.microsoft.com/office/drawing/2014/main" id="{2C463DBB-F16A-FF43-97AE-F04AA09E2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1153" y="1499765"/>
            <a:ext cx="977689" cy="212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0" name="Picture 4" descr="Image result for japan airlines logo"/>
          <p:cNvPicPr>
            <a:picLocks noChangeAspect="1" noChangeArrowheads="1"/>
          </p:cNvPicPr>
          <p:nvPr/>
        </p:nvPicPr>
        <p:blipFill rotWithShape="1"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24"/>
          <a:stretch/>
        </p:blipFill>
        <p:spPr bwMode="auto">
          <a:xfrm>
            <a:off x="10821887" y="1279188"/>
            <a:ext cx="680259" cy="59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7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07543" y="1424306"/>
            <a:ext cx="1325498" cy="272122"/>
          </a:xfrm>
          <a:prstGeom prst="rect">
            <a:avLst/>
          </a:prstGeom>
        </p:spPr>
      </p:pic>
      <p:pic>
        <p:nvPicPr>
          <p:cNvPr id="2552843" name="Picture 11" descr="singapore-airlines-logo - Airline Suppliers">
            <a:extLst>
              <a:ext uri="{FF2B5EF4-FFF2-40B4-BE49-F238E27FC236}">
                <a16:creationId xmlns:a16="http://schemas.microsoft.com/office/drawing/2014/main" id="{00724E35-4AE2-4F64-AE64-354BF046F0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5961" y="1958008"/>
            <a:ext cx="856789" cy="38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54" descr="C:\Users\vipul.sood\Desktop\emirates.png"/>
          <p:cNvPicPr>
            <a:picLocks noChangeAspect="1" noChangeArrowheads="1"/>
          </p:cNvPicPr>
          <p:nvPr/>
        </p:nvPicPr>
        <p:blipFill>
          <a:blip r:embed="rId7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4801" y="1800326"/>
            <a:ext cx="461469" cy="43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11" descr="Lufthansa logo and symbol, meaning, history, PNG"/>
          <p:cNvPicPr>
            <a:picLocks noChangeAspect="1" noChangeArrowheads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2645" y="1475900"/>
            <a:ext cx="1020632" cy="18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Image result for pegasus io logo">
            <a:extLst>
              <a:ext uri="{FF2B5EF4-FFF2-40B4-BE49-F238E27FC236}">
                <a16:creationId xmlns:a16="http://schemas.microsoft.com/office/drawing/2014/main" id="{839982E8-4FC7-E14A-ABB0-5B3E9CA1AC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7" cstate="email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09429" y="3393725"/>
            <a:ext cx="942581" cy="321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C:\Users\saurabh.sanghi\Desktop\2000px-Swissport_logo.svg.png"/>
          <p:cNvPicPr>
            <a:picLocks noChangeAspect="1" noChangeArrowheads="1"/>
          </p:cNvPicPr>
          <p:nvPr/>
        </p:nvPicPr>
        <p:blipFill>
          <a:blip r:embed="rId7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8309" y="3514802"/>
            <a:ext cx="938844" cy="193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7"/>
          <p:cNvPicPr>
            <a:picLocks noChangeAspect="1" noChangeArrowheads="1"/>
          </p:cNvPicPr>
          <p:nvPr/>
        </p:nvPicPr>
        <p:blipFill rotWithShape="1">
          <a:blip r:embed="rId79" cstate="email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47344" y="3466200"/>
            <a:ext cx="1086410" cy="283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27" descr="C:\Users\saurabh.sanghi\Desktop\1392284699863.gif"/>
          <p:cNvPicPr>
            <a:picLocks noChangeAspect="1" noChangeArrowheads="1"/>
          </p:cNvPicPr>
          <p:nvPr/>
        </p:nvPicPr>
        <p:blipFill>
          <a:blip r:embed="rId80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7101" y="2916392"/>
            <a:ext cx="802160" cy="353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C:\Users\saurabh.sanghi\Desktop\Travel-Tripper-logo-1024x179.png"/>
          <p:cNvPicPr>
            <a:picLocks noChangeAspect="1" noChangeArrowheads="1"/>
          </p:cNvPicPr>
          <p:nvPr/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9064" y="2973849"/>
            <a:ext cx="1176308" cy="20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" descr="E:\00Data\Icons\Logos\Dufry.jpg"/>
          <p:cNvPicPr>
            <a:picLocks noChangeAspect="1" noChangeArrowheads="1"/>
          </p:cNvPicPr>
          <p:nvPr/>
        </p:nvPicPr>
        <p:blipFill rotWithShape="1">
          <a:blip r:embed="rId82" cstate="email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72869" y="2893432"/>
            <a:ext cx="911722" cy="31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F08BB15D-F782-FE48-86AF-3720CABBC903}"/>
              </a:ext>
            </a:extLst>
          </p:cNvPr>
          <p:cNvSpPr/>
          <p:nvPr/>
        </p:nvSpPr>
        <p:spPr>
          <a:xfrm>
            <a:off x="588833" y="2898003"/>
            <a:ext cx="1230474" cy="948380"/>
          </a:xfrm>
          <a:prstGeom prst="rect">
            <a:avLst/>
          </a:prstGeom>
          <a:solidFill>
            <a:srgbClr val="1F458C"/>
          </a:solidFill>
          <a:ln>
            <a:solidFill>
              <a:srgbClr val="1F458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090" tIns="35046" rIns="70090" bIns="35046" rtlCol="0" anchor="ctr"/>
          <a:lstStyle/>
          <a:p>
            <a:pPr marL="0" marR="0" lvl="0" indent="0" algn="ctr" defTabSz="799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5700"/>
              </a:buClr>
              <a:buSzPct val="75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echnology &amp; Distribution</a:t>
            </a:r>
          </a:p>
        </p:txBody>
      </p:sp>
      <p:pic>
        <p:nvPicPr>
          <p:cNvPr id="72" name="Picture 2"/>
          <p:cNvPicPr>
            <a:picLocks noChangeAspect="1" noChangeArrowheads="1"/>
          </p:cNvPicPr>
          <p:nvPr/>
        </p:nvPicPr>
        <p:blipFill>
          <a:blip r:embed="rId83" cstate="print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656" y="2939099"/>
            <a:ext cx="736576" cy="25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5"/>
          <p:cNvPicPr>
            <a:picLocks noChangeAspect="1" noChangeArrowheads="1"/>
          </p:cNvPicPr>
          <p:nvPr/>
        </p:nvPicPr>
        <p:blipFill>
          <a:blip r:embed="rId84" cstate="print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9641" y="3445861"/>
            <a:ext cx="933413" cy="240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4" descr="Image result for d-edge logo"/>
          <p:cNvPicPr>
            <a:picLocks noChangeAspect="1" noChangeArrowheads="1"/>
          </p:cNvPicPr>
          <p:nvPr/>
        </p:nvPicPr>
        <p:blipFill>
          <a:blip r:embed="rId8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8173" y="3387366"/>
            <a:ext cx="1152994" cy="422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4"/>
          <p:cNvPicPr>
            <a:picLocks noChangeAspect="1" noChangeArrowheads="1"/>
          </p:cNvPicPr>
          <p:nvPr/>
        </p:nvPicPr>
        <p:blipFill>
          <a:blip r:embed="rId8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820" y="2983868"/>
            <a:ext cx="1179360" cy="206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" name="Picture 15"/>
          <p:cNvPicPr>
            <a:picLocks noChangeAspect="1" noChangeArrowheads="1"/>
          </p:cNvPicPr>
          <p:nvPr/>
        </p:nvPicPr>
        <p:blipFill rotWithShape="1">
          <a:blip r:embed="rId87" cstate="email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35249" y="3376532"/>
            <a:ext cx="835749" cy="348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" name="Picture 104"/>
          <p:cNvPicPr>
            <a:picLocks noChangeAspect="1"/>
          </p:cNvPicPr>
          <p:nvPr/>
        </p:nvPicPr>
        <p:blipFill>
          <a:blip r:embed="rId8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1647" y="3248087"/>
            <a:ext cx="536477" cy="536477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8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1236" y="2942128"/>
            <a:ext cx="2508990" cy="328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0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4784" y="3271082"/>
            <a:ext cx="6530915" cy="870796"/>
          </a:xfrm>
        </p:spPr>
        <p:txBody>
          <a:bodyPr/>
          <a:lstStyle/>
          <a:p>
            <a:r>
              <a:rPr lang="en-US" dirty="0" smtClean="0"/>
              <a:t>Risk Assurance and </a:t>
            </a:r>
            <a:br>
              <a:rPr lang="en-US" dirty="0" smtClean="0"/>
            </a:br>
            <a:r>
              <a:rPr lang="en-US" dirty="0" smtClean="0"/>
              <a:t>Quality Engineering Capabil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07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/>
          <p:cNvSpPr/>
          <p:nvPr/>
        </p:nvSpPr>
        <p:spPr>
          <a:xfrm>
            <a:off x="454857" y="4434131"/>
            <a:ext cx="4110059" cy="184993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295422" y="1519311"/>
            <a:ext cx="5770049" cy="259753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6323425" y="2407825"/>
            <a:ext cx="5690383" cy="3788666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solidFill>
                  <a:schemeClr val="tx2"/>
                </a:solidFill>
              </a:rPr>
              <a:t>QE and Testing as Risk Management Too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… </a:t>
            </a:r>
            <a:r>
              <a:rPr lang="en-IN" dirty="0" smtClean="0">
                <a:solidFill>
                  <a:schemeClr val="accent1"/>
                </a:solidFill>
              </a:rPr>
              <a:t>Risk Based Testing </a:t>
            </a:r>
            <a:endParaRPr lang="en-GB" dirty="0"/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447899" y="1479746"/>
          <a:ext cx="5488667" cy="24592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534537" y="2535454"/>
            <a:ext cx="2201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op Risks Identified 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9469949" y="2396954"/>
            <a:ext cx="19670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isk Mitigation by Testing</a:t>
            </a:r>
            <a:endParaRPr 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6595403" y="3128776"/>
            <a:ext cx="25626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erformance degradation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9004766" y="3160961"/>
            <a:ext cx="2577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Performance Testing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595403" y="3923469"/>
            <a:ext cx="2140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ad UX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9045526" y="3923469"/>
            <a:ext cx="19858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Usability Testing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595403" y="4618796"/>
            <a:ext cx="24501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act on existing workflow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9045526" y="4667602"/>
            <a:ext cx="22578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Regression Testing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604127" y="5409696"/>
            <a:ext cx="2450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liance issues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9054250" y="5273161"/>
            <a:ext cx="28048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Compliance/ Conformation Testing</a:t>
            </a:r>
            <a:endParaRPr lang="en-US" dirty="0"/>
          </a:p>
        </p:txBody>
      </p:sp>
      <p:sp>
        <p:nvSpPr>
          <p:cNvPr id="18" name="Curved Down Arrow 17"/>
          <p:cNvSpPr/>
          <p:nvPr/>
        </p:nvSpPr>
        <p:spPr>
          <a:xfrm>
            <a:off x="2912012" y="728449"/>
            <a:ext cx="5331656" cy="659889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09600" y="4936344"/>
            <a:ext cx="40669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lighted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gulatory Compli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roved decision suppor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nhanced change control</a:t>
            </a:r>
            <a:endParaRPr lang="en-US" dirty="0"/>
          </a:p>
        </p:txBody>
      </p:sp>
      <p:sp>
        <p:nvSpPr>
          <p:cNvPr id="21" name="Rounded Rectangle 20"/>
          <p:cNvSpPr/>
          <p:nvPr/>
        </p:nvSpPr>
        <p:spPr>
          <a:xfrm>
            <a:off x="6371595" y="1620386"/>
            <a:ext cx="4931796" cy="50330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7718397" y="1669161"/>
            <a:ext cx="3641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isk Based Test Strategy</a:t>
            </a:r>
            <a:endParaRPr lang="en-US" b="1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819" y="1631852"/>
            <a:ext cx="1005229" cy="500164"/>
          </a:xfrm>
          <a:prstGeom prst="rect">
            <a:avLst/>
          </a:prstGeom>
        </p:spPr>
      </p:pic>
      <p:sp>
        <p:nvSpPr>
          <p:cNvPr id="23" name="Down Arrow 22"/>
          <p:cNvSpPr/>
          <p:nvPr/>
        </p:nvSpPr>
        <p:spPr>
          <a:xfrm>
            <a:off x="8468751" y="2189820"/>
            <a:ext cx="1001198" cy="16390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Left Arrow 23"/>
          <p:cNvSpPr/>
          <p:nvPr/>
        </p:nvSpPr>
        <p:spPr>
          <a:xfrm>
            <a:off x="5141741" y="5058944"/>
            <a:ext cx="436099" cy="92465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798803" y="4434130"/>
            <a:ext cx="29063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Key Business Benefits</a:t>
            </a:r>
            <a:endParaRPr lang="en-US" b="1" dirty="0"/>
          </a:p>
        </p:txBody>
      </p:sp>
      <p:cxnSp>
        <p:nvCxnSpPr>
          <p:cNvPr id="28" name="Straight Connector 27"/>
          <p:cNvCxnSpPr/>
          <p:nvPr/>
        </p:nvCxnSpPr>
        <p:spPr>
          <a:xfrm>
            <a:off x="6660646" y="3128776"/>
            <a:ext cx="4699264" cy="32185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6747050" y="3805724"/>
            <a:ext cx="4699264" cy="32185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6737719" y="4479584"/>
            <a:ext cx="4699264" cy="32185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6695894" y="5237367"/>
            <a:ext cx="4699264" cy="32185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6818984" y="5883378"/>
            <a:ext cx="4699264" cy="32185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8969350" y="2439648"/>
            <a:ext cx="35416" cy="3767714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5219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solidFill>
                  <a:schemeClr val="tx2"/>
                </a:solidFill>
              </a:rPr>
              <a:t>IGT QE Offerings and Pre-Built Framework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… </a:t>
            </a:r>
            <a:r>
              <a:rPr lang="en-IN" dirty="0" smtClean="0">
                <a:solidFill>
                  <a:schemeClr val="accent1"/>
                </a:solidFill>
              </a:rPr>
              <a:t>customized services as per customer needs</a:t>
            </a:r>
            <a:endParaRPr lang="en-GB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93895533"/>
              </p:ext>
            </p:extLst>
          </p:nvPr>
        </p:nvGraphicFramePr>
        <p:xfrm>
          <a:off x="1903212" y="531088"/>
          <a:ext cx="8128000" cy="47989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4" name="Straight Connector 33"/>
          <p:cNvCxnSpPr/>
          <p:nvPr/>
        </p:nvCxnSpPr>
        <p:spPr>
          <a:xfrm>
            <a:off x="1120462" y="4881093"/>
            <a:ext cx="10058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4209245" y="4874395"/>
            <a:ext cx="4018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mework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1120462" y="5615188"/>
            <a:ext cx="1751527" cy="553792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3281966" y="5615188"/>
            <a:ext cx="1751527" cy="553792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  <a:latin typeface="Calibri" panose="020F0502020204030204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5443470" y="5615188"/>
            <a:ext cx="1751527" cy="553792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  <a:latin typeface="Calibri" panose="020F0502020204030204"/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7604974" y="5615188"/>
            <a:ext cx="1751527" cy="553792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  <a:latin typeface="Calibri" panose="020F0502020204030204"/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9830873" y="5615188"/>
            <a:ext cx="1751527" cy="553792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  <a:latin typeface="Calibri" panose="020F0502020204030204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281447" y="5707418"/>
            <a:ext cx="1429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n Test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241183" y="5705340"/>
            <a:ext cx="1936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k Based Test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701047" y="5707418"/>
            <a:ext cx="1429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ile Test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669369" y="5705340"/>
            <a:ext cx="19039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Ops Test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0082906" y="5705340"/>
            <a:ext cx="1429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ift Lef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38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We can be your Quality Engineering &amp; Testing partner…. </a:t>
            </a:r>
            <a:endParaRPr lang="en-US" dirty="0">
              <a:solidFill>
                <a:schemeClr val="tx2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26655" y="1916954"/>
            <a:ext cx="1817509" cy="2588468"/>
            <a:chOff x="5053522" y="1896368"/>
            <a:chExt cx="1817509" cy="2588468"/>
          </a:xfrm>
        </p:grpSpPr>
        <p:sp>
          <p:nvSpPr>
            <p:cNvPr id="150" name="Rectangle 149"/>
            <p:cNvSpPr/>
            <p:nvPr/>
          </p:nvSpPr>
          <p:spPr>
            <a:xfrm>
              <a:off x="5071168" y="2188605"/>
              <a:ext cx="1794076" cy="2296231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83000">
                  <a:schemeClr val="bg1"/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5400000" scaled="1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5053522" y="1896368"/>
              <a:ext cx="174554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dvisory, Test Mgmt.</a:t>
              </a:r>
            </a:p>
          </p:txBody>
        </p:sp>
        <p:cxnSp>
          <p:nvCxnSpPr>
            <p:cNvPr id="158" name="Straight Connector 157"/>
            <p:cNvCxnSpPr/>
            <p:nvPr/>
          </p:nvCxnSpPr>
          <p:spPr>
            <a:xfrm>
              <a:off x="5065381" y="2189013"/>
              <a:ext cx="1805650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/>
            <p:cNvSpPr txBox="1"/>
            <p:nvPr/>
          </p:nvSpPr>
          <p:spPr>
            <a:xfrm>
              <a:off x="5076956" y="2191091"/>
              <a:ext cx="1690352" cy="2287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oadmap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ssessment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sting Co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evOp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gile Test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st Process  Mgmt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st 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rogram 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Mgmt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Lifecycle Transform</a:t>
              </a:r>
            </a:p>
          </p:txBody>
        </p:sp>
        <p:cxnSp>
          <p:nvCxnSpPr>
            <p:cNvPr id="160" name="Straight Connector 159"/>
            <p:cNvCxnSpPr/>
            <p:nvPr/>
          </p:nvCxnSpPr>
          <p:spPr>
            <a:xfrm flipV="1">
              <a:off x="5185939" y="2476548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/>
          </p:nvCxnSpPr>
          <p:spPr>
            <a:xfrm flipV="1">
              <a:off x="5185939" y="2742766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/>
          </p:nvCxnSpPr>
          <p:spPr>
            <a:xfrm flipV="1">
              <a:off x="5185939" y="3055282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/>
          </p:nvCxnSpPr>
          <p:spPr>
            <a:xfrm flipV="1">
              <a:off x="5185939" y="3321500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 flipV="1">
              <a:off x="5185939" y="3886395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/>
          </p:nvCxnSpPr>
          <p:spPr>
            <a:xfrm flipV="1">
              <a:off x="5185939" y="3617122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/>
        </p:nvGrpSpPr>
        <p:grpSpPr>
          <a:xfrm>
            <a:off x="3037792" y="1896399"/>
            <a:ext cx="1805650" cy="2585639"/>
            <a:chOff x="3044142" y="1896399"/>
            <a:chExt cx="1805650" cy="2585639"/>
          </a:xfrm>
        </p:grpSpPr>
        <p:sp>
          <p:nvSpPr>
            <p:cNvPr id="108" name="Rectangle 107"/>
            <p:cNvSpPr/>
            <p:nvPr/>
          </p:nvSpPr>
          <p:spPr>
            <a:xfrm>
              <a:off x="3049929" y="2200527"/>
              <a:ext cx="1794076" cy="2281511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83000">
                  <a:schemeClr val="bg1"/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5400000" scaled="1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3206873" y="1896399"/>
              <a:ext cx="14761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Life Cycle Testing </a:t>
              </a: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3131650" y="2200528"/>
              <a:ext cx="1630635" cy="21852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Functional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gress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egration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cceptanc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erformanc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lobalization/ 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Localization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Operational Readiness</a:t>
              </a:r>
            </a:p>
          </p:txBody>
        </p:sp>
        <p:cxnSp>
          <p:nvCxnSpPr>
            <p:cNvPr id="127" name="Straight Connector 126"/>
            <p:cNvCxnSpPr/>
            <p:nvPr/>
          </p:nvCxnSpPr>
          <p:spPr>
            <a:xfrm>
              <a:off x="3044142" y="2201441"/>
              <a:ext cx="1805650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/>
          </p:nvCxnSpPr>
          <p:spPr>
            <a:xfrm flipV="1">
              <a:off x="3159567" y="2485985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/>
          </p:nvCxnSpPr>
          <p:spPr>
            <a:xfrm flipV="1">
              <a:off x="3159567" y="2752203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 flipV="1">
              <a:off x="3159567" y="3064719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/>
          </p:nvCxnSpPr>
          <p:spPr>
            <a:xfrm flipV="1">
              <a:off x="3159567" y="3330937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/>
          </p:nvCxnSpPr>
          <p:spPr>
            <a:xfrm flipV="1">
              <a:off x="3159567" y="3585580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>
            <a:xfrm flipV="1">
              <a:off x="3128712" y="4067722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/>
        </p:nvGrpSpPr>
        <p:grpSpPr>
          <a:xfrm>
            <a:off x="5075861" y="1893692"/>
            <a:ext cx="1805650" cy="2621000"/>
            <a:chOff x="7153155" y="1889068"/>
            <a:chExt cx="1805650" cy="2621000"/>
          </a:xfrm>
        </p:grpSpPr>
        <p:sp>
          <p:nvSpPr>
            <p:cNvPr id="133" name="Rectangle 132"/>
            <p:cNvSpPr/>
            <p:nvPr/>
          </p:nvSpPr>
          <p:spPr>
            <a:xfrm>
              <a:off x="7158942" y="2222960"/>
              <a:ext cx="1794076" cy="2260730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83000">
                  <a:schemeClr val="bg1"/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5400000" scaled="1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7276916" y="1889068"/>
              <a:ext cx="156966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pecialized Testing</a:t>
              </a:r>
            </a:p>
          </p:txBody>
        </p:sp>
        <p:cxnSp>
          <p:nvCxnSpPr>
            <p:cNvPr id="137" name="Straight Connector 136"/>
            <p:cNvCxnSpPr/>
            <p:nvPr/>
          </p:nvCxnSpPr>
          <p:spPr>
            <a:xfrm>
              <a:off x="7153155" y="2224590"/>
              <a:ext cx="1805650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Box 140"/>
            <p:cNvSpPr txBox="1"/>
            <p:nvPr/>
          </p:nvSpPr>
          <p:spPr>
            <a:xfrm>
              <a:off x="7380590" y="2222262"/>
              <a:ext cx="1421735" cy="22878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I / CD Test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PI Test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curity Test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enetration Test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ata Migr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ompliance Test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W / BI 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st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6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ertification Testing</a:t>
              </a:r>
            </a:p>
          </p:txBody>
        </p:sp>
        <p:cxnSp>
          <p:nvCxnSpPr>
            <p:cNvPr id="142" name="Straight Connector 141"/>
            <p:cNvCxnSpPr/>
            <p:nvPr/>
          </p:nvCxnSpPr>
          <p:spPr>
            <a:xfrm flipV="1">
              <a:off x="7291729" y="2497559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/>
            <p:nvPr/>
          </p:nvCxnSpPr>
          <p:spPr>
            <a:xfrm flipV="1">
              <a:off x="7291729" y="2778246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/>
          </p:nvCxnSpPr>
          <p:spPr>
            <a:xfrm flipV="1">
              <a:off x="7291729" y="3058933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/>
          </p:nvCxnSpPr>
          <p:spPr>
            <a:xfrm flipV="1">
              <a:off x="7291729" y="3339619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/>
          </p:nvCxnSpPr>
          <p:spPr>
            <a:xfrm flipV="1">
              <a:off x="7302635" y="3622264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 flipV="1">
              <a:off x="7320268" y="3952464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/>
          </p:nvCxnSpPr>
          <p:spPr>
            <a:xfrm flipV="1">
              <a:off x="7276916" y="4239004"/>
              <a:ext cx="1574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6" name="Group 185"/>
          <p:cNvGrpSpPr/>
          <p:nvPr/>
        </p:nvGrpSpPr>
        <p:grpSpPr>
          <a:xfrm>
            <a:off x="177473" y="940767"/>
            <a:ext cx="11667889" cy="910691"/>
            <a:chOff x="177473" y="851867"/>
            <a:chExt cx="11667889" cy="910691"/>
          </a:xfrm>
        </p:grpSpPr>
        <p:cxnSp>
          <p:nvCxnSpPr>
            <p:cNvPr id="187" name="Straight Connector 186"/>
            <p:cNvCxnSpPr>
              <a:stCxn id="188" idx="3"/>
              <a:endCxn id="189" idx="1"/>
            </p:cNvCxnSpPr>
            <p:nvPr/>
          </p:nvCxnSpPr>
          <p:spPr>
            <a:xfrm>
              <a:off x="2511568" y="1488768"/>
              <a:ext cx="6800236" cy="0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8" name="Rounded Rectangle 187"/>
            <p:cNvSpPr/>
            <p:nvPr/>
          </p:nvSpPr>
          <p:spPr>
            <a:xfrm>
              <a:off x="177473" y="1289665"/>
              <a:ext cx="2626018" cy="39820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Key Pillars</a:t>
              </a:r>
            </a:p>
          </p:txBody>
        </p:sp>
        <p:sp>
          <p:nvSpPr>
            <p:cNvPr id="189" name="Rounded Rectangle 188"/>
            <p:cNvSpPr/>
            <p:nvPr/>
          </p:nvSpPr>
          <p:spPr>
            <a:xfrm>
              <a:off x="9311803" y="1289665"/>
              <a:ext cx="2533559" cy="39820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rPr>
                <a:t>Enablers</a:t>
              </a:r>
            </a:p>
          </p:txBody>
        </p:sp>
        <p:grpSp>
          <p:nvGrpSpPr>
            <p:cNvPr id="190" name="Group 189"/>
            <p:cNvGrpSpPr/>
            <p:nvPr/>
          </p:nvGrpSpPr>
          <p:grpSpPr>
            <a:xfrm>
              <a:off x="8072362" y="978438"/>
              <a:ext cx="1167307" cy="779040"/>
              <a:chOff x="2764419" y="980401"/>
              <a:chExt cx="1167307" cy="779040"/>
            </a:xfrm>
          </p:grpSpPr>
          <p:sp>
            <p:nvSpPr>
              <p:cNvPr id="219" name="Hexagon 218"/>
              <p:cNvSpPr/>
              <p:nvPr/>
            </p:nvSpPr>
            <p:spPr>
              <a:xfrm rot="5400000">
                <a:off x="2945781" y="1210840"/>
                <a:ext cx="539223" cy="557979"/>
              </a:xfrm>
              <a:prstGeom prst="hexagon">
                <a:avLst/>
              </a:prstGeom>
              <a:solidFill>
                <a:schemeClr val="bg1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0" name="TextBox 219"/>
              <p:cNvSpPr txBox="1"/>
              <p:nvPr/>
            </p:nvSpPr>
            <p:spPr>
              <a:xfrm>
                <a:off x="2764419" y="980401"/>
                <a:ext cx="116730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Airlines &amp; Airports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221" name="Picture 220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63551" y="1291812"/>
                <a:ext cx="231958" cy="222680"/>
              </a:xfrm>
              <a:prstGeom prst="rect">
                <a:avLst/>
              </a:prstGeom>
            </p:spPr>
          </p:pic>
        </p:grpSp>
        <p:grpSp>
          <p:nvGrpSpPr>
            <p:cNvPr id="191" name="Group 190"/>
            <p:cNvGrpSpPr/>
            <p:nvPr/>
          </p:nvGrpSpPr>
          <p:grpSpPr>
            <a:xfrm>
              <a:off x="5204128" y="969579"/>
              <a:ext cx="3396336" cy="762199"/>
              <a:chOff x="3540630" y="997242"/>
              <a:chExt cx="3396336" cy="762199"/>
            </a:xfrm>
          </p:grpSpPr>
          <p:sp>
            <p:nvSpPr>
              <p:cNvPr id="216" name="Hexagon 215"/>
              <p:cNvSpPr/>
              <p:nvPr/>
            </p:nvSpPr>
            <p:spPr>
              <a:xfrm rot="5400000">
                <a:off x="3616648" y="1210840"/>
                <a:ext cx="539223" cy="557979"/>
              </a:xfrm>
              <a:prstGeom prst="hexagon">
                <a:avLst/>
              </a:prstGeom>
              <a:solidFill>
                <a:schemeClr val="bg1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TextBox 216"/>
              <p:cNvSpPr txBox="1"/>
              <p:nvPr/>
            </p:nvSpPr>
            <p:spPr>
              <a:xfrm>
                <a:off x="3540630" y="997242"/>
                <a:ext cx="76335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Hospitality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218" name="Picture 217"/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11664" y="1386872"/>
                <a:ext cx="325302" cy="321491"/>
              </a:xfrm>
              <a:prstGeom prst="rect">
                <a:avLst/>
              </a:prstGeom>
            </p:spPr>
          </p:pic>
        </p:grpSp>
        <p:grpSp>
          <p:nvGrpSpPr>
            <p:cNvPr id="192" name="Group 191"/>
            <p:cNvGrpSpPr/>
            <p:nvPr/>
          </p:nvGrpSpPr>
          <p:grpSpPr>
            <a:xfrm>
              <a:off x="2906247" y="874141"/>
              <a:ext cx="795411" cy="888417"/>
              <a:chOff x="7395035" y="871024"/>
              <a:chExt cx="795411" cy="888417"/>
            </a:xfrm>
          </p:grpSpPr>
          <p:sp>
            <p:nvSpPr>
              <p:cNvPr id="214" name="Hexagon 213"/>
              <p:cNvSpPr/>
              <p:nvPr/>
            </p:nvSpPr>
            <p:spPr>
              <a:xfrm rot="5400000">
                <a:off x="7501761" y="1210840"/>
                <a:ext cx="539223" cy="557979"/>
              </a:xfrm>
              <a:prstGeom prst="hexagon">
                <a:avLst/>
              </a:prstGeom>
              <a:solidFill>
                <a:schemeClr val="bg1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TextBox 214"/>
              <p:cNvSpPr txBox="1"/>
              <p:nvPr/>
            </p:nvSpPr>
            <p:spPr>
              <a:xfrm>
                <a:off x="7395035" y="871024"/>
                <a:ext cx="79541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Internet &amp;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Technology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7481818" y="984397"/>
              <a:ext cx="644411" cy="768001"/>
              <a:chOff x="8303341" y="991440"/>
              <a:chExt cx="644411" cy="768001"/>
            </a:xfrm>
          </p:grpSpPr>
          <p:sp>
            <p:nvSpPr>
              <p:cNvPr id="212" name="Hexagon 211"/>
              <p:cNvSpPr/>
              <p:nvPr/>
            </p:nvSpPr>
            <p:spPr>
              <a:xfrm rot="5400000">
                <a:off x="8312719" y="1210840"/>
                <a:ext cx="539223" cy="557979"/>
              </a:xfrm>
              <a:prstGeom prst="hexagon">
                <a:avLst/>
              </a:prstGeom>
              <a:solidFill>
                <a:schemeClr val="bg1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TextBox 212"/>
              <p:cNvSpPr txBox="1"/>
              <p:nvPr/>
            </p:nvSpPr>
            <p:spPr>
              <a:xfrm>
                <a:off x="8314245" y="991440"/>
                <a:ext cx="63350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Logistics</a:t>
                </a:r>
              </a:p>
            </p:txBody>
          </p:sp>
        </p:grpSp>
        <p:grpSp>
          <p:nvGrpSpPr>
            <p:cNvPr id="194" name="Group 193"/>
            <p:cNvGrpSpPr/>
            <p:nvPr/>
          </p:nvGrpSpPr>
          <p:grpSpPr>
            <a:xfrm>
              <a:off x="3761678" y="969955"/>
              <a:ext cx="1953161" cy="782443"/>
              <a:chOff x="4278137" y="976998"/>
              <a:chExt cx="1953161" cy="782443"/>
            </a:xfrm>
          </p:grpSpPr>
          <p:sp>
            <p:nvSpPr>
              <p:cNvPr id="209" name="Hexagon 208"/>
              <p:cNvSpPr/>
              <p:nvPr/>
            </p:nvSpPr>
            <p:spPr>
              <a:xfrm rot="5400000">
                <a:off x="4287515" y="1210840"/>
                <a:ext cx="539223" cy="557979"/>
              </a:xfrm>
              <a:prstGeom prst="hexagon">
                <a:avLst/>
              </a:prstGeom>
              <a:solidFill>
                <a:schemeClr val="bg1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TextBox 209"/>
              <p:cNvSpPr txBox="1"/>
              <p:nvPr/>
            </p:nvSpPr>
            <p:spPr>
              <a:xfrm>
                <a:off x="4330946" y="976998"/>
                <a:ext cx="546945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Energy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211" name="Picture 21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26456" y="1328764"/>
                <a:ext cx="304842" cy="310938"/>
              </a:xfrm>
              <a:prstGeom prst="rect">
                <a:avLst/>
              </a:prstGeom>
            </p:spPr>
          </p:pic>
        </p:grpSp>
        <p:grpSp>
          <p:nvGrpSpPr>
            <p:cNvPr id="195" name="Group 194"/>
            <p:cNvGrpSpPr/>
            <p:nvPr/>
          </p:nvGrpSpPr>
          <p:grpSpPr>
            <a:xfrm>
              <a:off x="6762289" y="990275"/>
              <a:ext cx="718372" cy="762123"/>
              <a:chOff x="4949004" y="997318"/>
              <a:chExt cx="718372" cy="762123"/>
            </a:xfrm>
          </p:grpSpPr>
          <p:sp>
            <p:nvSpPr>
              <p:cNvPr id="207" name="Hexagon 206"/>
              <p:cNvSpPr/>
              <p:nvPr/>
            </p:nvSpPr>
            <p:spPr>
              <a:xfrm rot="5400000">
                <a:off x="4958382" y="1210840"/>
                <a:ext cx="539223" cy="557979"/>
              </a:xfrm>
              <a:prstGeom prst="hexagon">
                <a:avLst/>
              </a:prstGeom>
              <a:solidFill>
                <a:schemeClr val="bg1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TextBox 207"/>
              <p:cNvSpPr txBox="1"/>
              <p:nvPr/>
            </p:nvSpPr>
            <p:spPr>
              <a:xfrm>
                <a:off x="4985779" y="997318"/>
                <a:ext cx="68159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Maritime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6" name="Group 195"/>
            <p:cNvGrpSpPr/>
            <p:nvPr/>
          </p:nvGrpSpPr>
          <p:grpSpPr>
            <a:xfrm>
              <a:off x="4336765" y="851867"/>
              <a:ext cx="1045427" cy="895451"/>
              <a:chOff x="6110736" y="863990"/>
              <a:chExt cx="1045427" cy="895451"/>
            </a:xfrm>
          </p:grpSpPr>
          <p:sp>
            <p:nvSpPr>
              <p:cNvPr id="205" name="Hexagon 204"/>
              <p:cNvSpPr/>
              <p:nvPr/>
            </p:nvSpPr>
            <p:spPr>
              <a:xfrm rot="5400000">
                <a:off x="6300116" y="1210840"/>
                <a:ext cx="539223" cy="557979"/>
              </a:xfrm>
              <a:prstGeom prst="hexagon">
                <a:avLst/>
              </a:prstGeom>
              <a:solidFill>
                <a:schemeClr val="bg1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TextBox 205"/>
              <p:cNvSpPr txBox="1"/>
              <p:nvPr/>
            </p:nvSpPr>
            <p:spPr>
              <a:xfrm>
                <a:off x="6110736" y="863990"/>
                <a:ext cx="104542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rPr>
                  <a:t>e-Commerce &amp; Retail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7" name="Group 196"/>
            <p:cNvGrpSpPr/>
            <p:nvPr/>
          </p:nvGrpSpPr>
          <p:grpSpPr>
            <a:xfrm>
              <a:off x="5907992" y="972829"/>
              <a:ext cx="1225172" cy="779569"/>
              <a:chOff x="5882592" y="972829"/>
              <a:chExt cx="1225172" cy="779569"/>
            </a:xfrm>
          </p:grpSpPr>
          <p:grpSp>
            <p:nvGrpSpPr>
              <p:cNvPr id="201" name="Group 200"/>
              <p:cNvGrpSpPr/>
              <p:nvPr/>
            </p:nvGrpSpPr>
            <p:grpSpPr>
              <a:xfrm>
                <a:off x="5882592" y="972829"/>
                <a:ext cx="1225172" cy="779569"/>
                <a:chOff x="5477672" y="979872"/>
                <a:chExt cx="1225172" cy="779569"/>
              </a:xfrm>
            </p:grpSpPr>
            <p:sp>
              <p:nvSpPr>
                <p:cNvPr id="203" name="Hexagon 202"/>
                <p:cNvSpPr/>
                <p:nvPr/>
              </p:nvSpPr>
              <p:spPr>
                <a:xfrm rot="5400000">
                  <a:off x="5629249" y="1210840"/>
                  <a:ext cx="539223" cy="557979"/>
                </a:xfrm>
                <a:prstGeom prst="hexagon">
                  <a:avLst/>
                </a:prstGeom>
                <a:solidFill>
                  <a:schemeClr val="bg1"/>
                </a:solidFill>
                <a:ln>
                  <a:solidFill>
                    <a:schemeClr val="accent1">
                      <a:shade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TextBox 203"/>
                <p:cNvSpPr txBox="1"/>
                <p:nvPr/>
              </p:nvSpPr>
              <p:spPr>
                <a:xfrm>
                  <a:off x="5477672" y="979872"/>
                  <a:ext cx="1225172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414042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Arial" panose="020B0604020202020204" pitchFamily="34" charset="0"/>
                    </a:rPr>
                    <a:t>Gov. Statutory</a:t>
                  </a:r>
                  <a:endPara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pic>
            <p:nvPicPr>
              <p:cNvPr id="202" name="Picture 201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6096000" y="1316814"/>
                <a:ext cx="354258" cy="321784"/>
              </a:xfrm>
              <a:prstGeom prst="rect">
                <a:avLst/>
              </a:prstGeom>
            </p:spPr>
          </p:pic>
        </p:grpSp>
        <p:pic>
          <p:nvPicPr>
            <p:cNvPr id="198" name="Picture 197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12442" y="1454986"/>
              <a:ext cx="211694" cy="174250"/>
            </a:xfrm>
            <a:prstGeom prst="rect">
              <a:avLst/>
            </a:prstGeom>
          </p:spPr>
        </p:pic>
        <p:pic>
          <p:nvPicPr>
            <p:cNvPr id="199" name="Picture 198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9281" y="1237235"/>
              <a:ext cx="423057" cy="423057"/>
            </a:xfrm>
            <a:prstGeom prst="rect">
              <a:avLst/>
            </a:prstGeom>
          </p:spPr>
        </p:pic>
        <p:pic>
          <p:nvPicPr>
            <p:cNvPr id="200" name="Picture 199"/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99979" y="1141275"/>
              <a:ext cx="510009" cy="510009"/>
            </a:xfrm>
            <a:prstGeom prst="rect">
              <a:avLst/>
            </a:prstGeom>
          </p:spPr>
        </p:pic>
      </p:grpSp>
      <p:grpSp>
        <p:nvGrpSpPr>
          <p:cNvPr id="222" name="Group 221"/>
          <p:cNvGrpSpPr/>
          <p:nvPr/>
        </p:nvGrpSpPr>
        <p:grpSpPr>
          <a:xfrm>
            <a:off x="3031442" y="4481120"/>
            <a:ext cx="5921576" cy="354767"/>
            <a:chOff x="3044142" y="4557320"/>
            <a:chExt cx="5921576" cy="354767"/>
          </a:xfrm>
        </p:grpSpPr>
        <p:sp>
          <p:nvSpPr>
            <p:cNvPr id="223" name="Rectangle 222"/>
            <p:cNvSpPr/>
            <p:nvPr/>
          </p:nvSpPr>
          <p:spPr>
            <a:xfrm>
              <a:off x="3044142" y="4557320"/>
              <a:ext cx="5921576" cy="33982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2">
                  <a:lumMod val="40000"/>
                  <a:lumOff val="60000"/>
                </a:schemeClr>
              </a:solidFill>
              <a:prstDash val="solid"/>
            </a:ln>
            <a:effectLst/>
          </p:spPr>
          <p:txBody>
            <a:bodyPr lIns="91133" tIns="45566" rIns="91133" bIns="45566" anchor="ctr"/>
            <a:lstStyle/>
            <a:p>
              <a:pPr marL="1371600" marR="0" lvl="3" indent="0" algn="l" defTabSz="10395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elligent Quality Leveraging AI / ML &amp; NLP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24" name="Picture 223"/>
            <p:cNvPicPr>
              <a:picLocks noChangeAspect="1"/>
            </p:cNvPicPr>
            <p:nvPr/>
          </p:nvPicPr>
          <p:blipFill rotWithShape="1"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778" b="21481"/>
            <a:stretch/>
          </p:blipFill>
          <p:spPr>
            <a:xfrm>
              <a:off x="3361091" y="4585206"/>
              <a:ext cx="395821" cy="281034"/>
            </a:xfrm>
            <a:prstGeom prst="rect">
              <a:avLst/>
            </a:prstGeom>
          </p:spPr>
        </p:pic>
        <p:cxnSp>
          <p:nvCxnSpPr>
            <p:cNvPr id="225" name="Straight Connector 224"/>
            <p:cNvCxnSpPr/>
            <p:nvPr/>
          </p:nvCxnSpPr>
          <p:spPr>
            <a:xfrm>
              <a:off x="3932259" y="4611768"/>
              <a:ext cx="0" cy="300319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229" name="Picture 228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0894" y="1337250"/>
            <a:ext cx="528594" cy="528594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4446834" y="5869346"/>
            <a:ext cx="2630391" cy="592508"/>
            <a:chOff x="3601320" y="5645616"/>
            <a:chExt cx="2630391" cy="592508"/>
          </a:xfrm>
        </p:grpSpPr>
        <p:sp>
          <p:nvSpPr>
            <p:cNvPr id="242" name="object 32">
              <a:extLst>
                <a:ext uri="{FF2B5EF4-FFF2-40B4-BE49-F238E27FC236}">
                  <a16:creationId xmlns:a16="http://schemas.microsoft.com/office/drawing/2014/main" id="{ACFFED93-CDCF-4ED9-9113-8D8BCD60A223}"/>
                </a:ext>
              </a:extLst>
            </p:cNvPr>
            <p:cNvSpPr txBox="1"/>
            <p:nvPr/>
          </p:nvSpPr>
          <p:spPr>
            <a:xfrm>
              <a:off x="4139180" y="5705303"/>
              <a:ext cx="2092531" cy="512641"/>
            </a:xfrm>
            <a:prstGeom prst="rect">
              <a:avLst/>
            </a:prstGeom>
          </p:spPr>
          <p:txBody>
            <a:bodyPr vert="horz" wrap="square" lIns="0" tIns="37465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ts val="1760"/>
                </a:lnSpc>
                <a:spcBef>
                  <a:spcPts val="295"/>
                </a:spcBef>
                <a:defRPr sz="1600" spc="-20">
                  <a:solidFill>
                    <a:srgbClr val="6D6E73"/>
                  </a:solidFill>
                  <a:latin typeface="Trebuchet MS"/>
                </a:defRPr>
              </a:lvl1pPr>
            </a:lstStyle>
            <a:p>
              <a:pPr marL="12700" marR="5080" lvl="0" indent="0" algn="l" defTabSz="914400" rtl="0" eaLnBrk="1" fontAlgn="auto" latinLnBrk="0" hangingPunct="1">
                <a:lnSpc>
                  <a:spcPts val="1760"/>
                </a:lnSpc>
                <a:spcBef>
                  <a:spcPts val="2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-20" normalizeH="0" baseline="0" noProof="0" dirty="0">
                  <a:ln>
                    <a:noFill/>
                  </a:ln>
                  <a:solidFill>
                    <a:srgbClr val="F15A2B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45+% </a:t>
              </a:r>
              <a:endParaRPr kumimoji="0" lang="en-US" sz="1600" b="1" i="0" u="none" strike="noStrike" kern="1200" cap="none" spc="-20" normalizeH="0" baseline="0" noProof="0" dirty="0" smtClean="0">
                <a:ln>
                  <a:noFill/>
                </a:ln>
                <a:solidFill>
                  <a:srgbClr val="F15A2B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  <a:p>
              <a:pPr marL="12700" marR="5080" lvl="0" indent="0" algn="l" defTabSz="914400" rtl="0" eaLnBrk="1" fontAlgn="auto" latinLnBrk="0" hangingPunct="1">
                <a:lnSpc>
                  <a:spcPts val="1760"/>
                </a:lnSpc>
                <a:spcBef>
                  <a:spcPts val="2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6D6E7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reduction </a:t>
              </a:r>
              <a:r>
                <a:rPr kumimoji="0" lang="en-US" sz="1100" b="0" i="0" u="none" strike="noStrike" kern="1200" cap="none" spc="-20" normalizeH="0" baseline="0" noProof="0" dirty="0">
                  <a:ln>
                    <a:noFill/>
                  </a:ln>
                  <a:solidFill>
                    <a:srgbClr val="6D6E7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in Test cycle time</a:t>
              </a:r>
            </a:p>
          </p:txBody>
        </p:sp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DF840F77-E55A-4329-BFEA-DFC9838A38B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601320" y="5645616"/>
              <a:ext cx="592508" cy="592508"/>
              <a:chOff x="5272088" y="2605088"/>
              <a:chExt cx="1647825" cy="1647825"/>
            </a:xfrm>
          </p:grpSpPr>
          <p:sp>
            <p:nvSpPr>
              <p:cNvPr id="246" name="AutoShape 120">
                <a:extLst>
                  <a:ext uri="{FF2B5EF4-FFF2-40B4-BE49-F238E27FC236}">
                    <a16:creationId xmlns:a16="http://schemas.microsoft.com/office/drawing/2014/main" id="{D5ABF70D-885B-400A-973D-F958E9247D5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088" y="2605088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47" name="Group 246">
                <a:extLst>
                  <a:ext uri="{FF2B5EF4-FFF2-40B4-BE49-F238E27FC236}">
                    <a16:creationId xmlns:a16="http://schemas.microsoft.com/office/drawing/2014/main" id="{023B3D07-23E4-4854-B4CE-D99FD46B3D4E}"/>
                  </a:ext>
                </a:extLst>
              </p:cNvPr>
              <p:cNvGrpSpPr/>
              <p:nvPr/>
            </p:nvGrpSpPr>
            <p:grpSpPr>
              <a:xfrm>
                <a:off x="5494338" y="2879725"/>
                <a:ext cx="1152526" cy="1143001"/>
                <a:chOff x="5494338" y="2879725"/>
                <a:chExt cx="1152526" cy="1143001"/>
              </a:xfrm>
            </p:grpSpPr>
            <p:sp>
              <p:nvSpPr>
                <p:cNvPr id="248" name="Freeform 12">
                  <a:extLst>
                    <a:ext uri="{FF2B5EF4-FFF2-40B4-BE49-F238E27FC236}">
                      <a16:creationId xmlns:a16="http://schemas.microsoft.com/office/drawing/2014/main" id="{E9D2BD74-2475-4EB9-84E0-1B93AE03DA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30901" y="2879725"/>
                  <a:ext cx="715963" cy="712788"/>
                </a:xfrm>
                <a:custGeom>
                  <a:avLst/>
                  <a:gdLst>
                    <a:gd name="connsiteX0" fmla="*/ 566864 w 715963"/>
                    <a:gd name="connsiteY0" fmla="*/ 178516 h 712788"/>
                    <a:gd name="connsiteX1" fmla="*/ 576886 w 715963"/>
                    <a:gd name="connsiteY1" fmla="*/ 183528 h 712788"/>
                    <a:gd name="connsiteX2" fmla="*/ 574738 w 715963"/>
                    <a:gd name="connsiteY2" fmla="*/ 205721 h 712788"/>
                    <a:gd name="connsiteX3" fmla="*/ 397215 w 715963"/>
                    <a:gd name="connsiteY3" fmla="*/ 357499 h 712788"/>
                    <a:gd name="connsiteX4" fmla="*/ 397215 w 715963"/>
                    <a:gd name="connsiteY4" fmla="*/ 358931 h 712788"/>
                    <a:gd name="connsiteX5" fmla="*/ 357845 w 715963"/>
                    <a:gd name="connsiteY5" fmla="*/ 396875 h 712788"/>
                    <a:gd name="connsiteX6" fmla="*/ 319191 w 715963"/>
                    <a:gd name="connsiteY6" fmla="*/ 360363 h 712788"/>
                    <a:gd name="connsiteX7" fmla="*/ 197502 w 715963"/>
                    <a:gd name="connsiteY7" fmla="*/ 275883 h 712788"/>
                    <a:gd name="connsiteX8" fmla="*/ 193207 w 715963"/>
                    <a:gd name="connsiteY8" fmla="*/ 255837 h 712788"/>
                    <a:gd name="connsiteX9" fmla="*/ 213250 w 715963"/>
                    <a:gd name="connsiteY9" fmla="*/ 250109 h 712788"/>
                    <a:gd name="connsiteX10" fmla="*/ 343529 w 715963"/>
                    <a:gd name="connsiteY10" fmla="*/ 322418 h 712788"/>
                    <a:gd name="connsiteX11" fmla="*/ 357845 w 715963"/>
                    <a:gd name="connsiteY11" fmla="*/ 320270 h 712788"/>
                    <a:gd name="connsiteX12" fmla="*/ 367867 w 715963"/>
                    <a:gd name="connsiteY12" fmla="*/ 321702 h 712788"/>
                    <a:gd name="connsiteX13" fmla="*/ 556127 w 715963"/>
                    <a:gd name="connsiteY13" fmla="*/ 181380 h 712788"/>
                    <a:gd name="connsiteX14" fmla="*/ 566864 w 715963"/>
                    <a:gd name="connsiteY14" fmla="*/ 178516 h 712788"/>
                    <a:gd name="connsiteX15" fmla="*/ 357266 w 715963"/>
                    <a:gd name="connsiteY15" fmla="*/ 0 h 712788"/>
                    <a:gd name="connsiteX16" fmla="*/ 387336 w 715963"/>
                    <a:gd name="connsiteY16" fmla="*/ 1431 h 712788"/>
                    <a:gd name="connsiteX17" fmla="*/ 417407 w 715963"/>
                    <a:gd name="connsiteY17" fmla="*/ 5725 h 712788"/>
                    <a:gd name="connsiteX18" fmla="*/ 704508 w 715963"/>
                    <a:gd name="connsiteY18" fmla="*/ 264791 h 712788"/>
                    <a:gd name="connsiteX19" fmla="*/ 710951 w 715963"/>
                    <a:gd name="connsiteY19" fmla="*/ 293417 h 712788"/>
                    <a:gd name="connsiteX20" fmla="*/ 715963 w 715963"/>
                    <a:gd name="connsiteY20" fmla="*/ 358541 h 712788"/>
                    <a:gd name="connsiteX21" fmla="*/ 408815 w 715963"/>
                    <a:gd name="connsiteY21" fmla="*/ 712788 h 712788"/>
                    <a:gd name="connsiteX22" fmla="*/ 407383 w 715963"/>
                    <a:gd name="connsiteY22" fmla="*/ 693466 h 712788"/>
                    <a:gd name="connsiteX23" fmla="*/ 405951 w 715963"/>
                    <a:gd name="connsiteY23" fmla="*/ 681300 h 712788"/>
                    <a:gd name="connsiteX24" fmla="*/ 589238 w 715963"/>
                    <a:gd name="connsiteY24" fmla="*/ 588981 h 712788"/>
                    <a:gd name="connsiteX25" fmla="*/ 684461 w 715963"/>
                    <a:gd name="connsiteY25" fmla="*/ 358541 h 712788"/>
                    <a:gd name="connsiteX26" fmla="*/ 680165 w 715963"/>
                    <a:gd name="connsiteY26" fmla="*/ 299142 h 712788"/>
                    <a:gd name="connsiteX27" fmla="*/ 673721 w 715963"/>
                    <a:gd name="connsiteY27" fmla="*/ 273379 h 712788"/>
                    <a:gd name="connsiteX28" fmla="*/ 412395 w 715963"/>
                    <a:gd name="connsiteY28" fmla="*/ 36498 h 712788"/>
                    <a:gd name="connsiteX29" fmla="*/ 411679 w 715963"/>
                    <a:gd name="connsiteY29" fmla="*/ 36498 h 712788"/>
                    <a:gd name="connsiteX30" fmla="*/ 410963 w 715963"/>
                    <a:gd name="connsiteY30" fmla="*/ 36498 h 712788"/>
                    <a:gd name="connsiteX31" fmla="*/ 385188 w 715963"/>
                    <a:gd name="connsiteY31" fmla="*/ 32920 h 712788"/>
                    <a:gd name="connsiteX32" fmla="*/ 357266 w 715963"/>
                    <a:gd name="connsiteY32" fmla="*/ 31489 h 712788"/>
                    <a:gd name="connsiteX33" fmla="*/ 31502 w 715963"/>
                    <a:gd name="connsiteY33" fmla="*/ 354247 h 712788"/>
                    <a:gd name="connsiteX34" fmla="*/ 0 w 715963"/>
                    <a:gd name="connsiteY34" fmla="*/ 349953 h 712788"/>
                    <a:gd name="connsiteX35" fmla="*/ 357266 w 715963"/>
                    <a:gd name="connsiteY35" fmla="*/ 0 h 712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715963" h="712788">
                      <a:moveTo>
                        <a:pt x="566864" y="178516"/>
                      </a:moveTo>
                      <a:cubicBezTo>
                        <a:pt x="570443" y="178516"/>
                        <a:pt x="574022" y="180664"/>
                        <a:pt x="576886" y="183528"/>
                      </a:cubicBezTo>
                      <a:cubicBezTo>
                        <a:pt x="582612" y="189971"/>
                        <a:pt x="581896" y="199994"/>
                        <a:pt x="574738" y="205721"/>
                      </a:cubicBezTo>
                      <a:cubicBezTo>
                        <a:pt x="574738" y="205721"/>
                        <a:pt x="574738" y="205721"/>
                        <a:pt x="397215" y="357499"/>
                      </a:cubicBezTo>
                      <a:cubicBezTo>
                        <a:pt x="397215" y="357499"/>
                        <a:pt x="397215" y="358215"/>
                        <a:pt x="397215" y="358931"/>
                      </a:cubicBezTo>
                      <a:cubicBezTo>
                        <a:pt x="397215" y="379693"/>
                        <a:pt x="379320" y="396875"/>
                        <a:pt x="357845" y="396875"/>
                      </a:cubicBezTo>
                      <a:cubicBezTo>
                        <a:pt x="337087" y="396875"/>
                        <a:pt x="319907" y="380409"/>
                        <a:pt x="319191" y="360363"/>
                      </a:cubicBezTo>
                      <a:cubicBezTo>
                        <a:pt x="319191" y="360363"/>
                        <a:pt x="319191" y="360363"/>
                        <a:pt x="197502" y="275883"/>
                      </a:cubicBezTo>
                      <a:cubicBezTo>
                        <a:pt x="190344" y="272303"/>
                        <a:pt x="188912" y="262996"/>
                        <a:pt x="193207" y="255837"/>
                      </a:cubicBezTo>
                      <a:cubicBezTo>
                        <a:pt x="197502" y="248677"/>
                        <a:pt x="206092" y="246530"/>
                        <a:pt x="213250" y="250109"/>
                      </a:cubicBezTo>
                      <a:cubicBezTo>
                        <a:pt x="213250" y="250109"/>
                        <a:pt x="213250" y="250109"/>
                        <a:pt x="343529" y="322418"/>
                      </a:cubicBezTo>
                      <a:cubicBezTo>
                        <a:pt x="348540" y="320986"/>
                        <a:pt x="352835" y="320270"/>
                        <a:pt x="357845" y="320270"/>
                      </a:cubicBezTo>
                      <a:cubicBezTo>
                        <a:pt x="361424" y="320270"/>
                        <a:pt x="365004" y="320270"/>
                        <a:pt x="367867" y="321702"/>
                      </a:cubicBezTo>
                      <a:cubicBezTo>
                        <a:pt x="367867" y="321702"/>
                        <a:pt x="354982" y="333157"/>
                        <a:pt x="556127" y="181380"/>
                      </a:cubicBezTo>
                      <a:cubicBezTo>
                        <a:pt x="558990" y="179232"/>
                        <a:pt x="563285" y="177800"/>
                        <a:pt x="566864" y="178516"/>
                      </a:cubicBezTo>
                      <a:close/>
                      <a:moveTo>
                        <a:pt x="357266" y="0"/>
                      </a:moveTo>
                      <a:cubicBezTo>
                        <a:pt x="367289" y="0"/>
                        <a:pt x="377313" y="716"/>
                        <a:pt x="387336" y="1431"/>
                      </a:cubicBezTo>
                      <a:cubicBezTo>
                        <a:pt x="397360" y="2147"/>
                        <a:pt x="407383" y="3578"/>
                        <a:pt x="417407" y="5725"/>
                      </a:cubicBezTo>
                      <a:cubicBezTo>
                        <a:pt x="555588" y="28626"/>
                        <a:pt x="667278" y="131680"/>
                        <a:pt x="704508" y="264791"/>
                      </a:cubicBezTo>
                      <a:cubicBezTo>
                        <a:pt x="706656" y="274094"/>
                        <a:pt x="708804" y="283398"/>
                        <a:pt x="710951" y="293417"/>
                      </a:cubicBezTo>
                      <a:cubicBezTo>
                        <a:pt x="714531" y="314886"/>
                        <a:pt x="715963" y="336356"/>
                        <a:pt x="715963" y="358541"/>
                      </a:cubicBezTo>
                      <a:cubicBezTo>
                        <a:pt x="715963" y="538885"/>
                        <a:pt x="582794" y="687740"/>
                        <a:pt x="408815" y="712788"/>
                      </a:cubicBezTo>
                      <a:cubicBezTo>
                        <a:pt x="408099" y="706347"/>
                        <a:pt x="408099" y="699906"/>
                        <a:pt x="407383" y="693466"/>
                      </a:cubicBezTo>
                      <a:cubicBezTo>
                        <a:pt x="407383" y="693466"/>
                        <a:pt x="407383" y="693466"/>
                        <a:pt x="405951" y="681300"/>
                      </a:cubicBezTo>
                      <a:cubicBezTo>
                        <a:pt x="475400" y="671280"/>
                        <a:pt x="539120" y="639076"/>
                        <a:pt x="589238" y="588981"/>
                      </a:cubicBezTo>
                      <a:cubicBezTo>
                        <a:pt x="650811" y="527435"/>
                        <a:pt x="684461" y="445135"/>
                        <a:pt x="684461" y="358541"/>
                      </a:cubicBezTo>
                      <a:cubicBezTo>
                        <a:pt x="684461" y="339934"/>
                        <a:pt x="683029" y="320612"/>
                        <a:pt x="680165" y="299142"/>
                      </a:cubicBezTo>
                      <a:cubicBezTo>
                        <a:pt x="678017" y="289839"/>
                        <a:pt x="675869" y="281251"/>
                        <a:pt x="673721" y="273379"/>
                      </a:cubicBezTo>
                      <a:cubicBezTo>
                        <a:pt x="640071" y="151002"/>
                        <a:pt x="537688" y="57968"/>
                        <a:pt x="412395" y="36498"/>
                      </a:cubicBezTo>
                      <a:cubicBezTo>
                        <a:pt x="412395" y="36498"/>
                        <a:pt x="412395" y="36498"/>
                        <a:pt x="411679" y="36498"/>
                      </a:cubicBezTo>
                      <a:cubicBezTo>
                        <a:pt x="411679" y="36498"/>
                        <a:pt x="411679" y="36498"/>
                        <a:pt x="410963" y="36498"/>
                      </a:cubicBezTo>
                      <a:cubicBezTo>
                        <a:pt x="402371" y="35067"/>
                        <a:pt x="393780" y="33635"/>
                        <a:pt x="385188" y="32920"/>
                      </a:cubicBezTo>
                      <a:cubicBezTo>
                        <a:pt x="375881" y="32204"/>
                        <a:pt x="366573" y="31489"/>
                        <a:pt x="357266" y="31489"/>
                      </a:cubicBezTo>
                      <a:cubicBezTo>
                        <a:pt x="178991" y="31489"/>
                        <a:pt x="34366" y="176050"/>
                        <a:pt x="31502" y="354247"/>
                      </a:cubicBezTo>
                      <a:cubicBezTo>
                        <a:pt x="21479" y="352100"/>
                        <a:pt x="10739" y="351385"/>
                        <a:pt x="0" y="349953"/>
                      </a:cubicBezTo>
                      <a:cubicBezTo>
                        <a:pt x="4296" y="156727"/>
                        <a:pt x="162523" y="0"/>
                        <a:pt x="357266" y="0"/>
                      </a:cubicBezTo>
                      <a:close/>
                    </a:path>
                  </a:pathLst>
                </a:custGeom>
                <a:solidFill>
                  <a:srgbClr val="132651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9" name="Freeform 124">
                  <a:extLst>
                    <a:ext uri="{FF2B5EF4-FFF2-40B4-BE49-F238E27FC236}">
                      <a16:creationId xmlns:a16="http://schemas.microsoft.com/office/drawing/2014/main" id="{41EB6952-4A27-457E-8A7A-8AC308353C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94338" y="3214688"/>
                  <a:ext cx="817563" cy="808038"/>
                </a:xfrm>
                <a:custGeom>
                  <a:avLst/>
                  <a:gdLst>
                    <a:gd name="T0" fmla="*/ 1139 w 1143"/>
                    <a:gd name="T1" fmla="*/ 532 h 1129"/>
                    <a:gd name="T2" fmla="*/ 1137 w 1143"/>
                    <a:gd name="T3" fmla="*/ 505 h 1129"/>
                    <a:gd name="T4" fmla="*/ 1110 w 1143"/>
                    <a:gd name="T5" fmla="*/ 489 h 1129"/>
                    <a:gd name="T6" fmla="*/ 1056 w 1143"/>
                    <a:gd name="T7" fmla="*/ 456 h 1129"/>
                    <a:gd name="T8" fmla="*/ 1026 w 1143"/>
                    <a:gd name="T9" fmla="*/ 365 h 1129"/>
                    <a:gd name="T10" fmla="*/ 976 w 1143"/>
                    <a:gd name="T11" fmla="*/ 274 h 1129"/>
                    <a:gd name="T12" fmla="*/ 994 w 1143"/>
                    <a:gd name="T13" fmla="*/ 182 h 1129"/>
                    <a:gd name="T14" fmla="*/ 802 w 1143"/>
                    <a:gd name="T15" fmla="*/ 39 h 1129"/>
                    <a:gd name="T16" fmla="*/ 718 w 1143"/>
                    <a:gd name="T17" fmla="*/ 87 h 1129"/>
                    <a:gd name="T18" fmla="*/ 658 w 1143"/>
                    <a:gd name="T19" fmla="*/ 71 h 1129"/>
                    <a:gd name="T20" fmla="*/ 613 w 1143"/>
                    <a:gd name="T21" fmla="*/ 66 h 1129"/>
                    <a:gd name="T22" fmla="*/ 571 w 1143"/>
                    <a:gd name="T23" fmla="*/ 64 h 1129"/>
                    <a:gd name="T24" fmla="*/ 535 w 1143"/>
                    <a:gd name="T25" fmla="*/ 65 h 1129"/>
                    <a:gd name="T26" fmla="*/ 464 w 1143"/>
                    <a:gd name="T27" fmla="*/ 0 h 1129"/>
                    <a:gd name="T28" fmla="*/ 347 w 1143"/>
                    <a:gd name="T29" fmla="*/ 36 h 1129"/>
                    <a:gd name="T30" fmla="*/ 240 w 1143"/>
                    <a:gd name="T31" fmla="*/ 97 h 1129"/>
                    <a:gd name="T32" fmla="*/ 240 w 1143"/>
                    <a:gd name="T33" fmla="*/ 195 h 1129"/>
                    <a:gd name="T34" fmla="*/ 128 w 1143"/>
                    <a:gd name="T35" fmla="*/ 344 h 1129"/>
                    <a:gd name="T36" fmla="*/ 39 w 1143"/>
                    <a:gd name="T37" fmla="*/ 373 h 1129"/>
                    <a:gd name="T38" fmla="*/ 5 w 1143"/>
                    <a:gd name="T39" fmla="*/ 616 h 1129"/>
                    <a:gd name="T40" fmla="*/ 87 w 1143"/>
                    <a:gd name="T41" fmla="*/ 664 h 1129"/>
                    <a:gd name="T42" fmla="*/ 120 w 1143"/>
                    <a:gd name="T43" fmla="*/ 761 h 1129"/>
                    <a:gd name="T44" fmla="*/ 165 w 1143"/>
                    <a:gd name="T45" fmla="*/ 847 h 1129"/>
                    <a:gd name="T46" fmla="*/ 142 w 1143"/>
                    <a:gd name="T47" fmla="*/ 939 h 1129"/>
                    <a:gd name="T48" fmla="*/ 331 w 1143"/>
                    <a:gd name="T49" fmla="*/ 1086 h 1129"/>
                    <a:gd name="T50" fmla="*/ 411 w 1143"/>
                    <a:gd name="T51" fmla="*/ 1037 h 1129"/>
                    <a:gd name="T52" fmla="*/ 576 w 1143"/>
                    <a:gd name="T53" fmla="*/ 1065 h 1129"/>
                    <a:gd name="T54" fmla="*/ 616 w 1143"/>
                    <a:gd name="T55" fmla="*/ 1063 h 1129"/>
                    <a:gd name="T56" fmla="*/ 687 w 1143"/>
                    <a:gd name="T57" fmla="*/ 1129 h 1129"/>
                    <a:gd name="T58" fmla="*/ 797 w 1143"/>
                    <a:gd name="T59" fmla="*/ 1094 h 1129"/>
                    <a:gd name="T60" fmla="*/ 899 w 1143"/>
                    <a:gd name="T61" fmla="*/ 1034 h 1129"/>
                    <a:gd name="T62" fmla="*/ 899 w 1143"/>
                    <a:gd name="T63" fmla="*/ 939 h 1129"/>
                    <a:gd name="T64" fmla="*/ 1023 w 1143"/>
                    <a:gd name="T65" fmla="*/ 771 h 1129"/>
                    <a:gd name="T66" fmla="*/ 1111 w 1143"/>
                    <a:gd name="T67" fmla="*/ 743 h 1129"/>
                    <a:gd name="T68" fmla="*/ 1139 w 1143"/>
                    <a:gd name="T69" fmla="*/ 532 h 1129"/>
                    <a:gd name="T70" fmla="*/ 672 w 1143"/>
                    <a:gd name="T71" fmla="*/ 795 h 1129"/>
                    <a:gd name="T72" fmla="*/ 573 w 1143"/>
                    <a:gd name="T73" fmla="*/ 817 h 1129"/>
                    <a:gd name="T74" fmla="*/ 346 w 1143"/>
                    <a:gd name="T75" fmla="*/ 664 h 1129"/>
                    <a:gd name="T76" fmla="*/ 474 w 1143"/>
                    <a:gd name="T77" fmla="*/ 335 h 1129"/>
                    <a:gd name="T78" fmla="*/ 570 w 1143"/>
                    <a:gd name="T79" fmla="*/ 314 h 1129"/>
                    <a:gd name="T80" fmla="*/ 799 w 1143"/>
                    <a:gd name="T81" fmla="*/ 465 h 1129"/>
                    <a:gd name="T82" fmla="*/ 672 w 1143"/>
                    <a:gd name="T83" fmla="*/ 795 h 1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43" h="1129">
                      <a:moveTo>
                        <a:pt x="1139" y="532"/>
                      </a:moveTo>
                      <a:cubicBezTo>
                        <a:pt x="1139" y="523"/>
                        <a:pt x="1138" y="514"/>
                        <a:pt x="1137" y="505"/>
                      </a:cubicBezTo>
                      <a:cubicBezTo>
                        <a:pt x="1127" y="499"/>
                        <a:pt x="1118" y="494"/>
                        <a:pt x="1110" y="489"/>
                      </a:cubicBezTo>
                      <a:cubicBezTo>
                        <a:pt x="1056" y="456"/>
                        <a:pt x="1056" y="456"/>
                        <a:pt x="1056" y="456"/>
                      </a:cubicBezTo>
                      <a:cubicBezTo>
                        <a:pt x="1049" y="426"/>
                        <a:pt x="1039" y="396"/>
                        <a:pt x="1026" y="365"/>
                      </a:cubicBezTo>
                      <a:cubicBezTo>
                        <a:pt x="1014" y="334"/>
                        <a:pt x="994" y="304"/>
                        <a:pt x="976" y="274"/>
                      </a:cubicBezTo>
                      <a:cubicBezTo>
                        <a:pt x="994" y="182"/>
                        <a:pt x="994" y="182"/>
                        <a:pt x="994" y="182"/>
                      </a:cubicBezTo>
                      <a:cubicBezTo>
                        <a:pt x="942" y="121"/>
                        <a:pt x="874" y="71"/>
                        <a:pt x="802" y="39"/>
                      </a:cubicBezTo>
                      <a:cubicBezTo>
                        <a:pt x="718" y="87"/>
                        <a:pt x="718" y="87"/>
                        <a:pt x="718" y="87"/>
                      </a:cubicBezTo>
                      <a:cubicBezTo>
                        <a:pt x="698" y="80"/>
                        <a:pt x="678" y="75"/>
                        <a:pt x="658" y="71"/>
                      </a:cubicBezTo>
                      <a:cubicBezTo>
                        <a:pt x="643" y="69"/>
                        <a:pt x="628" y="67"/>
                        <a:pt x="613" y="66"/>
                      </a:cubicBezTo>
                      <a:cubicBezTo>
                        <a:pt x="599" y="64"/>
                        <a:pt x="585" y="64"/>
                        <a:pt x="571" y="64"/>
                      </a:cubicBezTo>
                      <a:cubicBezTo>
                        <a:pt x="559" y="64"/>
                        <a:pt x="547" y="64"/>
                        <a:pt x="535" y="65"/>
                      </a:cubicBezTo>
                      <a:cubicBezTo>
                        <a:pt x="464" y="0"/>
                        <a:pt x="464" y="0"/>
                        <a:pt x="464" y="0"/>
                      </a:cubicBezTo>
                      <a:cubicBezTo>
                        <a:pt x="426" y="9"/>
                        <a:pt x="386" y="19"/>
                        <a:pt x="347" y="36"/>
                      </a:cubicBezTo>
                      <a:cubicBezTo>
                        <a:pt x="309" y="54"/>
                        <a:pt x="272" y="74"/>
                        <a:pt x="240" y="97"/>
                      </a:cubicBezTo>
                      <a:cubicBezTo>
                        <a:pt x="240" y="195"/>
                        <a:pt x="240" y="195"/>
                        <a:pt x="240" y="195"/>
                      </a:cubicBezTo>
                      <a:cubicBezTo>
                        <a:pt x="194" y="238"/>
                        <a:pt x="155" y="287"/>
                        <a:pt x="128" y="344"/>
                      </a:cubicBezTo>
                      <a:cubicBezTo>
                        <a:pt x="39" y="373"/>
                        <a:pt x="39" y="373"/>
                        <a:pt x="39" y="373"/>
                      </a:cubicBezTo>
                      <a:cubicBezTo>
                        <a:pt x="10" y="449"/>
                        <a:pt x="0" y="531"/>
                        <a:pt x="5" y="616"/>
                      </a:cubicBezTo>
                      <a:cubicBezTo>
                        <a:pt x="87" y="664"/>
                        <a:pt x="87" y="664"/>
                        <a:pt x="87" y="664"/>
                      </a:cubicBezTo>
                      <a:cubicBezTo>
                        <a:pt x="94" y="695"/>
                        <a:pt x="104" y="730"/>
                        <a:pt x="120" y="761"/>
                      </a:cubicBezTo>
                      <a:cubicBezTo>
                        <a:pt x="133" y="792"/>
                        <a:pt x="146" y="821"/>
                        <a:pt x="165" y="847"/>
                      </a:cubicBezTo>
                      <a:cubicBezTo>
                        <a:pt x="142" y="939"/>
                        <a:pt x="142" y="939"/>
                        <a:pt x="142" y="939"/>
                      </a:cubicBezTo>
                      <a:cubicBezTo>
                        <a:pt x="196" y="1003"/>
                        <a:pt x="259" y="1051"/>
                        <a:pt x="331" y="1086"/>
                      </a:cubicBezTo>
                      <a:cubicBezTo>
                        <a:pt x="411" y="1037"/>
                        <a:pt x="411" y="1037"/>
                        <a:pt x="411" y="1037"/>
                      </a:cubicBezTo>
                      <a:cubicBezTo>
                        <a:pt x="464" y="1055"/>
                        <a:pt x="519" y="1065"/>
                        <a:pt x="576" y="1065"/>
                      </a:cubicBezTo>
                      <a:cubicBezTo>
                        <a:pt x="589" y="1065"/>
                        <a:pt x="603" y="1064"/>
                        <a:pt x="616" y="1063"/>
                      </a:cubicBezTo>
                      <a:cubicBezTo>
                        <a:pt x="687" y="1129"/>
                        <a:pt x="687" y="1129"/>
                        <a:pt x="687" y="1129"/>
                      </a:cubicBezTo>
                      <a:cubicBezTo>
                        <a:pt x="722" y="1121"/>
                        <a:pt x="760" y="1109"/>
                        <a:pt x="797" y="1094"/>
                      </a:cubicBezTo>
                      <a:cubicBezTo>
                        <a:pt x="833" y="1076"/>
                        <a:pt x="867" y="1056"/>
                        <a:pt x="899" y="1034"/>
                      </a:cubicBezTo>
                      <a:cubicBezTo>
                        <a:pt x="899" y="939"/>
                        <a:pt x="899" y="939"/>
                        <a:pt x="899" y="939"/>
                      </a:cubicBezTo>
                      <a:cubicBezTo>
                        <a:pt x="952" y="891"/>
                        <a:pt x="993" y="834"/>
                        <a:pt x="1023" y="771"/>
                      </a:cubicBezTo>
                      <a:cubicBezTo>
                        <a:pt x="1111" y="743"/>
                        <a:pt x="1111" y="743"/>
                        <a:pt x="1111" y="743"/>
                      </a:cubicBezTo>
                      <a:cubicBezTo>
                        <a:pt x="1134" y="676"/>
                        <a:pt x="1143" y="604"/>
                        <a:pt x="1139" y="532"/>
                      </a:cubicBezTo>
                      <a:close/>
                      <a:moveTo>
                        <a:pt x="672" y="795"/>
                      </a:moveTo>
                      <a:cubicBezTo>
                        <a:pt x="640" y="810"/>
                        <a:pt x="606" y="817"/>
                        <a:pt x="573" y="817"/>
                      </a:cubicBezTo>
                      <a:cubicBezTo>
                        <a:pt x="477" y="817"/>
                        <a:pt x="386" y="759"/>
                        <a:pt x="346" y="664"/>
                      </a:cubicBezTo>
                      <a:cubicBezTo>
                        <a:pt x="291" y="536"/>
                        <a:pt x="349" y="389"/>
                        <a:pt x="474" y="335"/>
                      </a:cubicBezTo>
                      <a:cubicBezTo>
                        <a:pt x="505" y="321"/>
                        <a:pt x="538" y="315"/>
                        <a:pt x="570" y="314"/>
                      </a:cubicBezTo>
                      <a:cubicBezTo>
                        <a:pt x="667" y="314"/>
                        <a:pt x="760" y="370"/>
                        <a:pt x="799" y="465"/>
                      </a:cubicBezTo>
                      <a:cubicBezTo>
                        <a:pt x="854" y="592"/>
                        <a:pt x="797" y="742"/>
                        <a:pt x="672" y="795"/>
                      </a:cubicBezTo>
                      <a:close/>
                    </a:path>
                  </a:pathLst>
                </a:custGeom>
                <a:solidFill>
                  <a:srgbClr val="F05A28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1" name="Group 10"/>
          <p:cNvGrpSpPr/>
          <p:nvPr/>
        </p:nvGrpSpPr>
        <p:grpSpPr>
          <a:xfrm>
            <a:off x="2999780" y="5226438"/>
            <a:ext cx="2256080" cy="608443"/>
            <a:chOff x="3127374" y="5052437"/>
            <a:chExt cx="2938609" cy="608443"/>
          </a:xfrm>
        </p:grpSpPr>
        <p:sp>
          <p:nvSpPr>
            <p:cNvPr id="250" name="object 32">
              <a:extLst>
                <a:ext uri="{FF2B5EF4-FFF2-40B4-BE49-F238E27FC236}">
                  <a16:creationId xmlns:a16="http://schemas.microsoft.com/office/drawing/2014/main" id="{ACFFED93-CDCF-4ED9-9113-8D8BCD60A223}"/>
                </a:ext>
              </a:extLst>
            </p:cNvPr>
            <p:cNvSpPr txBox="1"/>
            <p:nvPr/>
          </p:nvSpPr>
          <p:spPr>
            <a:xfrm>
              <a:off x="3558004" y="5122912"/>
              <a:ext cx="2507979" cy="537968"/>
            </a:xfrm>
            <a:prstGeom prst="rect">
              <a:avLst/>
            </a:prstGeom>
          </p:spPr>
          <p:txBody>
            <a:bodyPr vert="horz" wrap="square" lIns="0" tIns="37465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ts val="1760"/>
                </a:lnSpc>
                <a:spcBef>
                  <a:spcPts val="295"/>
                </a:spcBef>
                <a:defRPr sz="1600" spc="-20">
                  <a:solidFill>
                    <a:srgbClr val="6D6E73"/>
                  </a:solidFill>
                  <a:latin typeface="Trebuchet MS"/>
                </a:defRPr>
              </a:lvl1pPr>
            </a:lstStyle>
            <a:p>
              <a:pPr marL="12700" marR="5080" lvl="0" indent="0" algn="l" defTabSz="914400" rtl="0" eaLnBrk="1" fontAlgn="auto" latinLnBrk="0" hangingPunct="1">
                <a:lnSpc>
                  <a:spcPts val="1760"/>
                </a:lnSpc>
                <a:spcBef>
                  <a:spcPts val="2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F15A2B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~85+%</a:t>
              </a:r>
              <a:r>
                <a:rPr kumimoji="0" lang="en-US" sz="1100" b="0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6D6E7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 </a:t>
              </a:r>
            </a:p>
            <a:p>
              <a:pPr marL="12700" marR="5080" lvl="0" indent="0" algn="l" defTabSz="914400" rtl="0" eaLnBrk="1" fontAlgn="auto" latinLnBrk="0" hangingPunct="1">
                <a:lnSpc>
                  <a:spcPts val="1760"/>
                </a:lnSpc>
                <a:spcBef>
                  <a:spcPts val="2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6D6E7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reduction </a:t>
              </a:r>
              <a:r>
                <a:rPr kumimoji="0" lang="en-US" sz="1100" b="0" i="0" u="none" strike="noStrike" kern="1200" cap="none" spc="-20" normalizeH="0" baseline="0" noProof="0" dirty="0">
                  <a:ln>
                    <a:noFill/>
                  </a:ln>
                  <a:solidFill>
                    <a:srgbClr val="6D6E7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in defect escape rate</a:t>
              </a:r>
            </a:p>
          </p:txBody>
        </p: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994E0065-8BA2-4121-B46A-731FC1D63C9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27374" y="5052437"/>
              <a:ext cx="534218" cy="534731"/>
              <a:chOff x="5273675" y="2514600"/>
              <a:chExt cx="1644650" cy="1646238"/>
            </a:xfrm>
          </p:grpSpPr>
          <p:sp>
            <p:nvSpPr>
              <p:cNvPr id="252" name="AutoShape 3">
                <a:extLst>
                  <a:ext uri="{FF2B5EF4-FFF2-40B4-BE49-F238E27FC236}">
                    <a16:creationId xmlns:a16="http://schemas.microsoft.com/office/drawing/2014/main" id="{9F0E39C3-598F-4DE1-BA28-6D8B25A8B4C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514600"/>
                <a:ext cx="1644650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3" name="Line 6">
                <a:extLst>
                  <a:ext uri="{FF2B5EF4-FFF2-40B4-BE49-F238E27FC236}">
                    <a16:creationId xmlns:a16="http://schemas.microsoft.com/office/drawing/2014/main" id="{C7A9413B-23B6-44CF-8C5E-47BC34DBFA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29350" y="3151188"/>
                <a:ext cx="0" cy="0"/>
              </a:xfrm>
              <a:prstGeom prst="line">
                <a:avLst/>
              </a:prstGeom>
              <a:noFill/>
              <a:ln w="31750" cap="rnd">
                <a:solidFill>
                  <a:srgbClr val="BCBE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4" name="Line 7">
                <a:extLst>
                  <a:ext uri="{FF2B5EF4-FFF2-40B4-BE49-F238E27FC236}">
                    <a16:creationId xmlns:a16="http://schemas.microsoft.com/office/drawing/2014/main" id="{A25F3F67-0CFC-44BE-BF37-25C3F18AEE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69000" y="3116263"/>
                <a:ext cx="0" cy="0"/>
              </a:xfrm>
              <a:prstGeom prst="line">
                <a:avLst/>
              </a:prstGeom>
              <a:noFill/>
              <a:ln w="31750" cap="rnd">
                <a:solidFill>
                  <a:srgbClr val="BCBE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255" name="Group 254">
                <a:extLst>
                  <a:ext uri="{FF2B5EF4-FFF2-40B4-BE49-F238E27FC236}">
                    <a16:creationId xmlns:a16="http://schemas.microsoft.com/office/drawing/2014/main" id="{A8E7FD09-EA85-4251-862B-B095203856AB}"/>
                  </a:ext>
                </a:extLst>
              </p:cNvPr>
              <p:cNvGrpSpPr/>
              <p:nvPr/>
            </p:nvGrpSpPr>
            <p:grpSpPr>
              <a:xfrm>
                <a:off x="5526088" y="2657475"/>
                <a:ext cx="1135063" cy="1336675"/>
                <a:chOff x="5526088" y="2657475"/>
                <a:chExt cx="1135063" cy="1336675"/>
              </a:xfrm>
            </p:grpSpPr>
            <p:sp>
              <p:nvSpPr>
                <p:cNvPr id="256" name="Freeform 255">
                  <a:extLst>
                    <a:ext uri="{FF2B5EF4-FFF2-40B4-BE49-F238E27FC236}">
                      <a16:creationId xmlns:a16="http://schemas.microsoft.com/office/drawing/2014/main" id="{C4666452-FD53-4D1E-A24D-8D390477C8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26088" y="3067050"/>
                  <a:ext cx="1135063" cy="927100"/>
                </a:xfrm>
                <a:custGeom>
                  <a:avLst/>
                  <a:gdLst>
                    <a:gd name="T0" fmla="*/ 420 w 1590"/>
                    <a:gd name="T1" fmla="*/ 17 h 1296"/>
                    <a:gd name="T2" fmla="*/ 298 w 1590"/>
                    <a:gd name="T3" fmla="*/ 184 h 1296"/>
                    <a:gd name="T4" fmla="*/ 168 w 1590"/>
                    <a:gd name="T5" fmla="*/ 240 h 1296"/>
                    <a:gd name="T6" fmla="*/ 72 w 1590"/>
                    <a:gd name="T7" fmla="*/ 116 h 1296"/>
                    <a:gd name="T8" fmla="*/ 35 w 1590"/>
                    <a:gd name="T9" fmla="*/ 139 h 1296"/>
                    <a:gd name="T10" fmla="*/ 158 w 1590"/>
                    <a:gd name="T11" fmla="*/ 283 h 1296"/>
                    <a:gd name="T12" fmla="*/ 290 w 1590"/>
                    <a:gd name="T13" fmla="*/ 312 h 1296"/>
                    <a:gd name="T14" fmla="*/ 294 w 1590"/>
                    <a:gd name="T15" fmla="*/ 557 h 1296"/>
                    <a:gd name="T16" fmla="*/ 173 w 1590"/>
                    <a:gd name="T17" fmla="*/ 547 h 1296"/>
                    <a:gd name="T18" fmla="*/ 17 w 1590"/>
                    <a:gd name="T19" fmla="*/ 594 h 1296"/>
                    <a:gd name="T20" fmla="*/ 25 w 1590"/>
                    <a:gd name="T21" fmla="*/ 636 h 1296"/>
                    <a:gd name="T22" fmla="*/ 129 w 1590"/>
                    <a:gd name="T23" fmla="*/ 597 h 1296"/>
                    <a:gd name="T24" fmla="*/ 290 w 1590"/>
                    <a:gd name="T25" fmla="*/ 601 h 1296"/>
                    <a:gd name="T26" fmla="*/ 295 w 1590"/>
                    <a:gd name="T27" fmla="*/ 646 h 1296"/>
                    <a:gd name="T28" fmla="*/ 303 w 1590"/>
                    <a:gd name="T29" fmla="*/ 897 h 1296"/>
                    <a:gd name="T30" fmla="*/ 182 w 1590"/>
                    <a:gd name="T31" fmla="*/ 943 h 1296"/>
                    <a:gd name="T32" fmla="*/ 85 w 1590"/>
                    <a:gd name="T33" fmla="*/ 1094 h 1296"/>
                    <a:gd name="T34" fmla="*/ 105 w 1590"/>
                    <a:gd name="T35" fmla="*/ 1125 h 1296"/>
                    <a:gd name="T36" fmla="*/ 170 w 1590"/>
                    <a:gd name="T37" fmla="*/ 1010 h 1296"/>
                    <a:gd name="T38" fmla="*/ 313 w 1590"/>
                    <a:gd name="T39" fmla="*/ 939 h 1296"/>
                    <a:gd name="T40" fmla="*/ 341 w 1590"/>
                    <a:gd name="T41" fmla="*/ 991 h 1296"/>
                    <a:gd name="T42" fmla="*/ 469 w 1590"/>
                    <a:gd name="T43" fmla="*/ 1159 h 1296"/>
                    <a:gd name="T44" fmla="*/ 772 w 1590"/>
                    <a:gd name="T45" fmla="*/ 115 h 1296"/>
                    <a:gd name="T46" fmla="*/ 728 w 1590"/>
                    <a:gd name="T47" fmla="*/ 1247 h 1296"/>
                    <a:gd name="T48" fmla="*/ 436 w 1590"/>
                    <a:gd name="T49" fmla="*/ 1061 h 1296"/>
                    <a:gd name="T50" fmla="*/ 380 w 1590"/>
                    <a:gd name="T51" fmla="*/ 971 h 1296"/>
                    <a:gd name="T52" fmla="*/ 340 w 1590"/>
                    <a:gd name="T53" fmla="*/ 813 h 1296"/>
                    <a:gd name="T54" fmla="*/ 342 w 1590"/>
                    <a:gd name="T55" fmla="*/ 188 h 1296"/>
                    <a:gd name="T56" fmla="*/ 449 w 1590"/>
                    <a:gd name="T57" fmla="*/ 50 h 1296"/>
                    <a:gd name="T58" fmla="*/ 728 w 1590"/>
                    <a:gd name="T59" fmla="*/ 1247 h 1296"/>
                    <a:gd name="T60" fmla="*/ 1478 w 1590"/>
                    <a:gd name="T61" fmla="*/ 556 h 1296"/>
                    <a:gd name="T62" fmla="*/ 1297 w 1590"/>
                    <a:gd name="T63" fmla="*/ 557 h 1296"/>
                    <a:gd name="T64" fmla="*/ 1297 w 1590"/>
                    <a:gd name="T65" fmla="*/ 312 h 1296"/>
                    <a:gd name="T66" fmla="*/ 1305 w 1590"/>
                    <a:gd name="T67" fmla="*/ 312 h 1296"/>
                    <a:gd name="T68" fmla="*/ 1493 w 1590"/>
                    <a:gd name="T69" fmla="*/ 239 h 1296"/>
                    <a:gd name="T70" fmla="*/ 1549 w 1590"/>
                    <a:gd name="T71" fmla="*/ 109 h 1296"/>
                    <a:gd name="T72" fmla="*/ 1456 w 1590"/>
                    <a:gd name="T73" fmla="*/ 216 h 1296"/>
                    <a:gd name="T74" fmla="*/ 1296 w 1590"/>
                    <a:gd name="T75" fmla="*/ 269 h 1296"/>
                    <a:gd name="T76" fmla="*/ 1242 w 1590"/>
                    <a:gd name="T77" fmla="*/ 89 h 1296"/>
                    <a:gd name="T78" fmla="*/ 1120 w 1590"/>
                    <a:gd name="T79" fmla="*/ 11 h 1296"/>
                    <a:gd name="T80" fmla="*/ 816 w 1590"/>
                    <a:gd name="T81" fmla="*/ 1296 h 1296"/>
                    <a:gd name="T82" fmla="*/ 1187 w 1590"/>
                    <a:gd name="T83" fmla="*/ 1090 h 1296"/>
                    <a:gd name="T84" fmla="*/ 1272 w 1590"/>
                    <a:gd name="T85" fmla="*/ 937 h 1296"/>
                    <a:gd name="T86" fmla="*/ 1393 w 1590"/>
                    <a:gd name="T87" fmla="*/ 984 h 1296"/>
                    <a:gd name="T88" fmla="*/ 1465 w 1590"/>
                    <a:gd name="T89" fmla="*/ 1112 h 1296"/>
                    <a:gd name="T90" fmla="*/ 1494 w 1590"/>
                    <a:gd name="T91" fmla="*/ 1123 h 1296"/>
                    <a:gd name="T92" fmla="*/ 1461 w 1590"/>
                    <a:gd name="T93" fmla="*/ 992 h 1296"/>
                    <a:gd name="T94" fmla="*/ 1292 w 1590"/>
                    <a:gd name="T95" fmla="*/ 898 h 1296"/>
                    <a:gd name="T96" fmla="*/ 1294 w 1590"/>
                    <a:gd name="T97" fmla="*/ 813 h 1296"/>
                    <a:gd name="T98" fmla="*/ 1295 w 1590"/>
                    <a:gd name="T99" fmla="*/ 601 h 1296"/>
                    <a:gd name="T100" fmla="*/ 1421 w 1590"/>
                    <a:gd name="T101" fmla="*/ 591 h 1296"/>
                    <a:gd name="T102" fmla="*/ 1557 w 1590"/>
                    <a:gd name="T103" fmla="*/ 635 h 1296"/>
                    <a:gd name="T104" fmla="*/ 1586 w 1590"/>
                    <a:gd name="T105" fmla="*/ 622 h 1296"/>
                    <a:gd name="T106" fmla="*/ 1250 w 1590"/>
                    <a:gd name="T107" fmla="*/ 813 h 1296"/>
                    <a:gd name="T108" fmla="*/ 1210 w 1590"/>
                    <a:gd name="T109" fmla="*/ 971 h 1296"/>
                    <a:gd name="T110" fmla="*/ 1153 w 1590"/>
                    <a:gd name="T111" fmla="*/ 1061 h 1296"/>
                    <a:gd name="T112" fmla="*/ 860 w 1590"/>
                    <a:gd name="T113" fmla="*/ 1247 h 1296"/>
                    <a:gd name="T114" fmla="*/ 1141 w 1590"/>
                    <a:gd name="T115" fmla="*/ 50 h 1296"/>
                    <a:gd name="T116" fmla="*/ 1248 w 1590"/>
                    <a:gd name="T117" fmla="*/ 188 h 1296"/>
                    <a:gd name="T118" fmla="*/ 1250 w 1590"/>
                    <a:gd name="T119" fmla="*/ 813 h 1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590" h="1296">
                      <a:moveTo>
                        <a:pt x="470" y="11"/>
                      </a:moveTo>
                      <a:cubicBezTo>
                        <a:pt x="459" y="0"/>
                        <a:pt x="436" y="0"/>
                        <a:pt x="420" y="17"/>
                      </a:cubicBezTo>
                      <a:cubicBezTo>
                        <a:pt x="348" y="89"/>
                        <a:pt x="348" y="89"/>
                        <a:pt x="348" y="89"/>
                      </a:cubicBezTo>
                      <a:cubicBezTo>
                        <a:pt x="320" y="117"/>
                        <a:pt x="303" y="145"/>
                        <a:pt x="298" y="184"/>
                      </a:cubicBezTo>
                      <a:cubicBezTo>
                        <a:pt x="294" y="269"/>
                        <a:pt x="294" y="269"/>
                        <a:pt x="294" y="269"/>
                      </a:cubicBezTo>
                      <a:cubicBezTo>
                        <a:pt x="168" y="240"/>
                        <a:pt x="168" y="240"/>
                        <a:pt x="168" y="240"/>
                      </a:cubicBezTo>
                      <a:cubicBezTo>
                        <a:pt x="154" y="237"/>
                        <a:pt x="142" y="228"/>
                        <a:pt x="134" y="216"/>
                      </a:cubicBezTo>
                      <a:cubicBezTo>
                        <a:pt x="72" y="116"/>
                        <a:pt x="72" y="116"/>
                        <a:pt x="72" y="116"/>
                      </a:cubicBezTo>
                      <a:cubicBezTo>
                        <a:pt x="65" y="106"/>
                        <a:pt x="52" y="103"/>
                        <a:pt x="42" y="109"/>
                      </a:cubicBezTo>
                      <a:cubicBezTo>
                        <a:pt x="31" y="116"/>
                        <a:pt x="28" y="129"/>
                        <a:pt x="35" y="139"/>
                      </a:cubicBezTo>
                      <a:cubicBezTo>
                        <a:pt x="97" y="239"/>
                        <a:pt x="97" y="239"/>
                        <a:pt x="97" y="239"/>
                      </a:cubicBezTo>
                      <a:cubicBezTo>
                        <a:pt x="111" y="262"/>
                        <a:pt x="133" y="277"/>
                        <a:pt x="158" y="283"/>
                      </a:cubicBezTo>
                      <a:cubicBezTo>
                        <a:pt x="285" y="312"/>
                        <a:pt x="285" y="312"/>
                        <a:pt x="285" y="312"/>
                      </a:cubicBezTo>
                      <a:cubicBezTo>
                        <a:pt x="287" y="312"/>
                        <a:pt x="289" y="312"/>
                        <a:pt x="290" y="312"/>
                      </a:cubicBezTo>
                      <a:cubicBezTo>
                        <a:pt x="291" y="312"/>
                        <a:pt x="292" y="312"/>
                        <a:pt x="293" y="312"/>
                      </a:cubicBezTo>
                      <a:cubicBezTo>
                        <a:pt x="294" y="557"/>
                        <a:pt x="294" y="557"/>
                        <a:pt x="294" y="557"/>
                      </a:cubicBezTo>
                      <a:cubicBezTo>
                        <a:pt x="294" y="557"/>
                        <a:pt x="294" y="557"/>
                        <a:pt x="293" y="557"/>
                      </a:cubicBezTo>
                      <a:cubicBezTo>
                        <a:pt x="173" y="547"/>
                        <a:pt x="173" y="547"/>
                        <a:pt x="173" y="547"/>
                      </a:cubicBezTo>
                      <a:cubicBezTo>
                        <a:pt x="152" y="545"/>
                        <a:pt x="131" y="548"/>
                        <a:pt x="113" y="556"/>
                      </a:cubicBezTo>
                      <a:cubicBezTo>
                        <a:pt x="17" y="594"/>
                        <a:pt x="17" y="594"/>
                        <a:pt x="17" y="594"/>
                      </a:cubicBezTo>
                      <a:cubicBezTo>
                        <a:pt x="6" y="598"/>
                        <a:pt x="0" y="611"/>
                        <a:pt x="5" y="622"/>
                      </a:cubicBezTo>
                      <a:cubicBezTo>
                        <a:pt x="8" y="631"/>
                        <a:pt x="16" y="636"/>
                        <a:pt x="25" y="636"/>
                      </a:cubicBezTo>
                      <a:cubicBezTo>
                        <a:pt x="28" y="636"/>
                        <a:pt x="30" y="636"/>
                        <a:pt x="33" y="635"/>
                      </a:cubicBezTo>
                      <a:cubicBezTo>
                        <a:pt x="129" y="597"/>
                        <a:pt x="129" y="597"/>
                        <a:pt x="129" y="597"/>
                      </a:cubicBezTo>
                      <a:cubicBezTo>
                        <a:pt x="141" y="592"/>
                        <a:pt x="155" y="590"/>
                        <a:pt x="169" y="591"/>
                      </a:cubicBezTo>
                      <a:cubicBezTo>
                        <a:pt x="290" y="601"/>
                        <a:pt x="290" y="601"/>
                        <a:pt x="290" y="601"/>
                      </a:cubicBezTo>
                      <a:cubicBezTo>
                        <a:pt x="291" y="601"/>
                        <a:pt x="293" y="601"/>
                        <a:pt x="295" y="601"/>
                      </a:cubicBezTo>
                      <a:cubicBezTo>
                        <a:pt x="295" y="646"/>
                        <a:pt x="295" y="646"/>
                        <a:pt x="295" y="646"/>
                      </a:cubicBezTo>
                      <a:cubicBezTo>
                        <a:pt x="296" y="813"/>
                        <a:pt x="296" y="813"/>
                        <a:pt x="296" y="813"/>
                      </a:cubicBezTo>
                      <a:cubicBezTo>
                        <a:pt x="296" y="841"/>
                        <a:pt x="297" y="870"/>
                        <a:pt x="303" y="897"/>
                      </a:cubicBezTo>
                      <a:cubicBezTo>
                        <a:pt x="301" y="897"/>
                        <a:pt x="300" y="898"/>
                        <a:pt x="298" y="898"/>
                      </a:cubicBezTo>
                      <a:cubicBezTo>
                        <a:pt x="182" y="943"/>
                        <a:pt x="182" y="943"/>
                        <a:pt x="182" y="943"/>
                      </a:cubicBezTo>
                      <a:cubicBezTo>
                        <a:pt x="158" y="951"/>
                        <a:pt x="139" y="970"/>
                        <a:pt x="129" y="992"/>
                      </a:cubicBezTo>
                      <a:cubicBezTo>
                        <a:pt x="85" y="1094"/>
                        <a:pt x="85" y="1094"/>
                        <a:pt x="85" y="1094"/>
                      </a:cubicBezTo>
                      <a:cubicBezTo>
                        <a:pt x="80" y="1105"/>
                        <a:pt x="86" y="1118"/>
                        <a:pt x="97" y="1123"/>
                      </a:cubicBezTo>
                      <a:cubicBezTo>
                        <a:pt x="100" y="1124"/>
                        <a:pt x="103" y="1125"/>
                        <a:pt x="105" y="1125"/>
                      </a:cubicBezTo>
                      <a:cubicBezTo>
                        <a:pt x="114" y="1125"/>
                        <a:pt x="122" y="1120"/>
                        <a:pt x="126" y="1112"/>
                      </a:cubicBezTo>
                      <a:cubicBezTo>
                        <a:pt x="170" y="1010"/>
                        <a:pt x="170" y="1010"/>
                        <a:pt x="170" y="1010"/>
                      </a:cubicBezTo>
                      <a:cubicBezTo>
                        <a:pt x="175" y="998"/>
                        <a:pt x="185" y="988"/>
                        <a:pt x="197" y="984"/>
                      </a:cubicBezTo>
                      <a:cubicBezTo>
                        <a:pt x="313" y="939"/>
                        <a:pt x="313" y="939"/>
                        <a:pt x="313" y="939"/>
                      </a:cubicBezTo>
                      <a:cubicBezTo>
                        <a:pt x="315" y="939"/>
                        <a:pt x="316" y="938"/>
                        <a:pt x="318" y="937"/>
                      </a:cubicBezTo>
                      <a:cubicBezTo>
                        <a:pt x="341" y="991"/>
                        <a:pt x="341" y="991"/>
                        <a:pt x="341" y="991"/>
                      </a:cubicBezTo>
                      <a:cubicBezTo>
                        <a:pt x="358" y="1019"/>
                        <a:pt x="375" y="1055"/>
                        <a:pt x="403" y="1090"/>
                      </a:cubicBezTo>
                      <a:cubicBezTo>
                        <a:pt x="469" y="1159"/>
                        <a:pt x="469" y="1159"/>
                        <a:pt x="469" y="1159"/>
                      </a:cubicBezTo>
                      <a:cubicBezTo>
                        <a:pt x="600" y="1282"/>
                        <a:pt x="693" y="1289"/>
                        <a:pt x="772" y="1296"/>
                      </a:cubicBezTo>
                      <a:cubicBezTo>
                        <a:pt x="772" y="115"/>
                        <a:pt x="772" y="115"/>
                        <a:pt x="772" y="115"/>
                      </a:cubicBezTo>
                      <a:cubicBezTo>
                        <a:pt x="683" y="105"/>
                        <a:pt x="554" y="72"/>
                        <a:pt x="470" y="11"/>
                      </a:cubicBezTo>
                      <a:close/>
                      <a:moveTo>
                        <a:pt x="728" y="1247"/>
                      </a:moveTo>
                      <a:cubicBezTo>
                        <a:pt x="665" y="1238"/>
                        <a:pt x="595" y="1216"/>
                        <a:pt x="500" y="1127"/>
                      </a:cubicBezTo>
                      <a:cubicBezTo>
                        <a:pt x="436" y="1061"/>
                        <a:pt x="436" y="1061"/>
                        <a:pt x="436" y="1061"/>
                      </a:cubicBezTo>
                      <a:cubicBezTo>
                        <a:pt x="419" y="1038"/>
                        <a:pt x="406" y="1016"/>
                        <a:pt x="393" y="993"/>
                      </a:cubicBezTo>
                      <a:cubicBezTo>
                        <a:pt x="389" y="986"/>
                        <a:pt x="384" y="978"/>
                        <a:pt x="380" y="971"/>
                      </a:cubicBezTo>
                      <a:cubicBezTo>
                        <a:pt x="349" y="899"/>
                        <a:pt x="349" y="899"/>
                        <a:pt x="349" y="899"/>
                      </a:cubicBezTo>
                      <a:cubicBezTo>
                        <a:pt x="341" y="870"/>
                        <a:pt x="340" y="840"/>
                        <a:pt x="340" y="813"/>
                      </a:cubicBezTo>
                      <a:cubicBezTo>
                        <a:pt x="337" y="291"/>
                        <a:pt x="337" y="291"/>
                        <a:pt x="337" y="291"/>
                      </a:cubicBezTo>
                      <a:cubicBezTo>
                        <a:pt x="342" y="188"/>
                        <a:pt x="342" y="188"/>
                        <a:pt x="342" y="188"/>
                      </a:cubicBezTo>
                      <a:cubicBezTo>
                        <a:pt x="346" y="162"/>
                        <a:pt x="356" y="143"/>
                        <a:pt x="379" y="120"/>
                      </a:cubicBezTo>
                      <a:cubicBezTo>
                        <a:pt x="449" y="50"/>
                        <a:pt x="449" y="50"/>
                        <a:pt x="449" y="50"/>
                      </a:cubicBezTo>
                      <a:cubicBezTo>
                        <a:pt x="527" y="105"/>
                        <a:pt x="638" y="138"/>
                        <a:pt x="728" y="153"/>
                      </a:cubicBezTo>
                      <a:lnTo>
                        <a:pt x="728" y="1247"/>
                      </a:lnTo>
                      <a:close/>
                      <a:moveTo>
                        <a:pt x="1573" y="594"/>
                      </a:moveTo>
                      <a:cubicBezTo>
                        <a:pt x="1478" y="556"/>
                        <a:pt x="1478" y="556"/>
                        <a:pt x="1478" y="556"/>
                      </a:cubicBezTo>
                      <a:cubicBezTo>
                        <a:pt x="1459" y="548"/>
                        <a:pt x="1438" y="545"/>
                        <a:pt x="1417" y="547"/>
                      </a:cubicBezTo>
                      <a:cubicBezTo>
                        <a:pt x="1297" y="557"/>
                        <a:pt x="1297" y="557"/>
                        <a:pt x="1297" y="557"/>
                      </a:cubicBezTo>
                      <a:cubicBezTo>
                        <a:pt x="1296" y="557"/>
                        <a:pt x="1296" y="557"/>
                        <a:pt x="1295" y="557"/>
                      </a:cubicBezTo>
                      <a:cubicBezTo>
                        <a:pt x="1297" y="312"/>
                        <a:pt x="1297" y="312"/>
                        <a:pt x="1297" y="312"/>
                      </a:cubicBezTo>
                      <a:cubicBezTo>
                        <a:pt x="1298" y="312"/>
                        <a:pt x="1299" y="312"/>
                        <a:pt x="1300" y="312"/>
                      </a:cubicBezTo>
                      <a:cubicBezTo>
                        <a:pt x="1302" y="312"/>
                        <a:pt x="1303" y="312"/>
                        <a:pt x="1305" y="312"/>
                      </a:cubicBezTo>
                      <a:cubicBezTo>
                        <a:pt x="1432" y="283"/>
                        <a:pt x="1432" y="283"/>
                        <a:pt x="1432" y="283"/>
                      </a:cubicBezTo>
                      <a:cubicBezTo>
                        <a:pt x="1457" y="277"/>
                        <a:pt x="1479" y="262"/>
                        <a:pt x="1493" y="239"/>
                      </a:cubicBezTo>
                      <a:cubicBezTo>
                        <a:pt x="1556" y="139"/>
                        <a:pt x="1556" y="139"/>
                        <a:pt x="1556" y="139"/>
                      </a:cubicBezTo>
                      <a:cubicBezTo>
                        <a:pt x="1562" y="129"/>
                        <a:pt x="1559" y="116"/>
                        <a:pt x="1549" y="109"/>
                      </a:cubicBezTo>
                      <a:cubicBezTo>
                        <a:pt x="1538" y="103"/>
                        <a:pt x="1525" y="106"/>
                        <a:pt x="1518" y="116"/>
                      </a:cubicBezTo>
                      <a:cubicBezTo>
                        <a:pt x="1456" y="216"/>
                        <a:pt x="1456" y="216"/>
                        <a:pt x="1456" y="216"/>
                      </a:cubicBezTo>
                      <a:cubicBezTo>
                        <a:pt x="1448" y="228"/>
                        <a:pt x="1436" y="237"/>
                        <a:pt x="1422" y="240"/>
                      </a:cubicBezTo>
                      <a:cubicBezTo>
                        <a:pt x="1296" y="269"/>
                        <a:pt x="1296" y="269"/>
                        <a:pt x="1296" y="269"/>
                      </a:cubicBezTo>
                      <a:cubicBezTo>
                        <a:pt x="1292" y="184"/>
                        <a:pt x="1292" y="184"/>
                        <a:pt x="1292" y="184"/>
                      </a:cubicBezTo>
                      <a:cubicBezTo>
                        <a:pt x="1286" y="145"/>
                        <a:pt x="1270" y="117"/>
                        <a:pt x="1242" y="89"/>
                      </a:cubicBezTo>
                      <a:cubicBezTo>
                        <a:pt x="1170" y="17"/>
                        <a:pt x="1170" y="17"/>
                        <a:pt x="1170" y="17"/>
                      </a:cubicBezTo>
                      <a:cubicBezTo>
                        <a:pt x="1153" y="0"/>
                        <a:pt x="1131" y="0"/>
                        <a:pt x="1120" y="11"/>
                      </a:cubicBezTo>
                      <a:cubicBezTo>
                        <a:pt x="1036" y="72"/>
                        <a:pt x="907" y="105"/>
                        <a:pt x="817" y="115"/>
                      </a:cubicBezTo>
                      <a:cubicBezTo>
                        <a:pt x="816" y="1296"/>
                        <a:pt x="816" y="1296"/>
                        <a:pt x="816" y="1296"/>
                      </a:cubicBezTo>
                      <a:cubicBezTo>
                        <a:pt x="895" y="1289"/>
                        <a:pt x="989" y="1282"/>
                        <a:pt x="1121" y="1159"/>
                      </a:cubicBezTo>
                      <a:cubicBezTo>
                        <a:pt x="1187" y="1090"/>
                        <a:pt x="1187" y="1090"/>
                        <a:pt x="1187" y="1090"/>
                      </a:cubicBezTo>
                      <a:cubicBezTo>
                        <a:pt x="1214" y="1055"/>
                        <a:pt x="1232" y="1019"/>
                        <a:pt x="1249" y="991"/>
                      </a:cubicBezTo>
                      <a:cubicBezTo>
                        <a:pt x="1272" y="937"/>
                        <a:pt x="1272" y="937"/>
                        <a:pt x="1272" y="937"/>
                      </a:cubicBezTo>
                      <a:cubicBezTo>
                        <a:pt x="1274" y="938"/>
                        <a:pt x="1275" y="939"/>
                        <a:pt x="1277" y="939"/>
                      </a:cubicBezTo>
                      <a:cubicBezTo>
                        <a:pt x="1393" y="984"/>
                        <a:pt x="1393" y="984"/>
                        <a:pt x="1393" y="984"/>
                      </a:cubicBezTo>
                      <a:cubicBezTo>
                        <a:pt x="1405" y="988"/>
                        <a:pt x="1415" y="998"/>
                        <a:pt x="1420" y="1010"/>
                      </a:cubicBezTo>
                      <a:cubicBezTo>
                        <a:pt x="1465" y="1112"/>
                        <a:pt x="1465" y="1112"/>
                        <a:pt x="1465" y="1112"/>
                      </a:cubicBezTo>
                      <a:cubicBezTo>
                        <a:pt x="1468" y="1120"/>
                        <a:pt x="1476" y="1125"/>
                        <a:pt x="1485" y="1125"/>
                      </a:cubicBezTo>
                      <a:cubicBezTo>
                        <a:pt x="1488" y="1125"/>
                        <a:pt x="1491" y="1124"/>
                        <a:pt x="1494" y="1123"/>
                      </a:cubicBezTo>
                      <a:cubicBezTo>
                        <a:pt x="1505" y="1118"/>
                        <a:pt x="1510" y="1105"/>
                        <a:pt x="1505" y="1094"/>
                      </a:cubicBezTo>
                      <a:cubicBezTo>
                        <a:pt x="1461" y="992"/>
                        <a:pt x="1461" y="992"/>
                        <a:pt x="1461" y="992"/>
                      </a:cubicBezTo>
                      <a:cubicBezTo>
                        <a:pt x="1451" y="970"/>
                        <a:pt x="1432" y="951"/>
                        <a:pt x="1409" y="943"/>
                      </a:cubicBezTo>
                      <a:cubicBezTo>
                        <a:pt x="1292" y="898"/>
                        <a:pt x="1292" y="898"/>
                        <a:pt x="1292" y="898"/>
                      </a:cubicBezTo>
                      <a:cubicBezTo>
                        <a:pt x="1291" y="898"/>
                        <a:pt x="1289" y="897"/>
                        <a:pt x="1287" y="897"/>
                      </a:cubicBezTo>
                      <a:cubicBezTo>
                        <a:pt x="1293" y="870"/>
                        <a:pt x="1294" y="841"/>
                        <a:pt x="1294" y="813"/>
                      </a:cubicBezTo>
                      <a:cubicBezTo>
                        <a:pt x="1295" y="646"/>
                        <a:pt x="1295" y="646"/>
                        <a:pt x="1295" y="646"/>
                      </a:cubicBezTo>
                      <a:cubicBezTo>
                        <a:pt x="1295" y="601"/>
                        <a:pt x="1295" y="601"/>
                        <a:pt x="1295" y="601"/>
                      </a:cubicBezTo>
                      <a:cubicBezTo>
                        <a:pt x="1297" y="601"/>
                        <a:pt x="1299" y="601"/>
                        <a:pt x="1301" y="601"/>
                      </a:cubicBezTo>
                      <a:cubicBezTo>
                        <a:pt x="1421" y="591"/>
                        <a:pt x="1421" y="591"/>
                        <a:pt x="1421" y="591"/>
                      </a:cubicBezTo>
                      <a:cubicBezTo>
                        <a:pt x="1435" y="590"/>
                        <a:pt x="1449" y="592"/>
                        <a:pt x="1461" y="597"/>
                      </a:cubicBezTo>
                      <a:cubicBezTo>
                        <a:pt x="1557" y="635"/>
                        <a:pt x="1557" y="635"/>
                        <a:pt x="1557" y="635"/>
                      </a:cubicBezTo>
                      <a:cubicBezTo>
                        <a:pt x="1560" y="636"/>
                        <a:pt x="1562" y="636"/>
                        <a:pt x="1565" y="636"/>
                      </a:cubicBezTo>
                      <a:cubicBezTo>
                        <a:pt x="1574" y="636"/>
                        <a:pt x="1582" y="631"/>
                        <a:pt x="1586" y="622"/>
                      </a:cubicBezTo>
                      <a:cubicBezTo>
                        <a:pt x="1590" y="611"/>
                        <a:pt x="1585" y="598"/>
                        <a:pt x="1573" y="594"/>
                      </a:cubicBezTo>
                      <a:close/>
                      <a:moveTo>
                        <a:pt x="1250" y="813"/>
                      </a:moveTo>
                      <a:cubicBezTo>
                        <a:pt x="1250" y="840"/>
                        <a:pt x="1249" y="870"/>
                        <a:pt x="1241" y="899"/>
                      </a:cubicBezTo>
                      <a:cubicBezTo>
                        <a:pt x="1210" y="971"/>
                        <a:pt x="1210" y="971"/>
                        <a:pt x="1210" y="971"/>
                      </a:cubicBezTo>
                      <a:cubicBezTo>
                        <a:pt x="1205" y="978"/>
                        <a:pt x="1201" y="986"/>
                        <a:pt x="1197" y="993"/>
                      </a:cubicBezTo>
                      <a:cubicBezTo>
                        <a:pt x="1184" y="1016"/>
                        <a:pt x="1171" y="1038"/>
                        <a:pt x="1153" y="1061"/>
                      </a:cubicBezTo>
                      <a:cubicBezTo>
                        <a:pt x="1090" y="1127"/>
                        <a:pt x="1090" y="1127"/>
                        <a:pt x="1090" y="1127"/>
                      </a:cubicBezTo>
                      <a:cubicBezTo>
                        <a:pt x="995" y="1216"/>
                        <a:pt x="923" y="1238"/>
                        <a:pt x="860" y="1247"/>
                      </a:cubicBezTo>
                      <a:cubicBezTo>
                        <a:pt x="861" y="153"/>
                        <a:pt x="861" y="153"/>
                        <a:pt x="861" y="153"/>
                      </a:cubicBezTo>
                      <a:cubicBezTo>
                        <a:pt x="952" y="138"/>
                        <a:pt x="1063" y="105"/>
                        <a:pt x="1141" y="50"/>
                      </a:cubicBezTo>
                      <a:cubicBezTo>
                        <a:pt x="1211" y="120"/>
                        <a:pt x="1211" y="120"/>
                        <a:pt x="1211" y="120"/>
                      </a:cubicBezTo>
                      <a:cubicBezTo>
                        <a:pt x="1233" y="143"/>
                        <a:pt x="1244" y="162"/>
                        <a:pt x="1248" y="188"/>
                      </a:cubicBezTo>
                      <a:cubicBezTo>
                        <a:pt x="1253" y="291"/>
                        <a:pt x="1253" y="291"/>
                        <a:pt x="1253" y="291"/>
                      </a:cubicBezTo>
                      <a:lnTo>
                        <a:pt x="1250" y="813"/>
                      </a:lnTo>
                      <a:close/>
                    </a:path>
                  </a:pathLst>
                </a:custGeom>
                <a:solidFill>
                  <a:srgbClr val="132651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7" name="Freeform 256">
                  <a:extLst>
                    <a:ext uri="{FF2B5EF4-FFF2-40B4-BE49-F238E27FC236}">
                      <a16:creationId xmlns:a16="http://schemas.microsoft.com/office/drawing/2014/main" id="{A1FBB828-F705-4AB5-8553-D9028DC9B4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9138" y="2657475"/>
                  <a:ext cx="590550" cy="1262063"/>
                </a:xfrm>
                <a:custGeom>
                  <a:avLst/>
                  <a:gdLst>
                    <a:gd name="T0" fmla="*/ 524 w 828"/>
                    <a:gd name="T1" fmla="*/ 765 h 1768"/>
                    <a:gd name="T2" fmla="*/ 754 w 828"/>
                    <a:gd name="T3" fmla="*/ 681 h 1768"/>
                    <a:gd name="T4" fmla="*/ 798 w 828"/>
                    <a:gd name="T5" fmla="*/ 726 h 1768"/>
                    <a:gd name="T6" fmla="*/ 823 w 828"/>
                    <a:gd name="T7" fmla="*/ 768 h 1768"/>
                    <a:gd name="T8" fmla="*/ 828 w 828"/>
                    <a:gd name="T9" fmla="*/ 867 h 1768"/>
                    <a:gd name="T10" fmla="*/ 825 w 828"/>
                    <a:gd name="T11" fmla="*/ 1388 h 1768"/>
                    <a:gd name="T12" fmla="*/ 818 w 828"/>
                    <a:gd name="T13" fmla="*/ 1459 h 1768"/>
                    <a:gd name="T14" fmla="*/ 789 w 828"/>
                    <a:gd name="T15" fmla="*/ 1526 h 1768"/>
                    <a:gd name="T16" fmla="*/ 778 w 828"/>
                    <a:gd name="T17" fmla="*/ 1546 h 1768"/>
                    <a:gd name="T18" fmla="*/ 739 w 828"/>
                    <a:gd name="T19" fmla="*/ 1608 h 1768"/>
                    <a:gd name="T20" fmla="*/ 678 w 828"/>
                    <a:gd name="T21" fmla="*/ 1671 h 1768"/>
                    <a:gd name="T22" fmla="*/ 524 w 828"/>
                    <a:gd name="T23" fmla="*/ 1768 h 1768"/>
                    <a:gd name="T24" fmla="*/ 524 w 828"/>
                    <a:gd name="T25" fmla="*/ 765 h 1768"/>
                    <a:gd name="T26" fmla="*/ 552 w 828"/>
                    <a:gd name="T27" fmla="*/ 235 h 1768"/>
                    <a:gd name="T28" fmla="*/ 552 w 828"/>
                    <a:gd name="T29" fmla="*/ 235 h 1768"/>
                    <a:gd name="T30" fmla="*/ 626 w 828"/>
                    <a:gd name="T31" fmla="*/ 105 h 1768"/>
                    <a:gd name="T32" fmla="*/ 719 w 828"/>
                    <a:gd name="T33" fmla="*/ 45 h 1768"/>
                    <a:gd name="T34" fmla="*/ 731 w 828"/>
                    <a:gd name="T35" fmla="*/ 17 h 1768"/>
                    <a:gd name="T36" fmla="*/ 703 w 828"/>
                    <a:gd name="T37" fmla="*/ 4 h 1768"/>
                    <a:gd name="T38" fmla="*/ 595 w 828"/>
                    <a:gd name="T39" fmla="*/ 74 h 1768"/>
                    <a:gd name="T40" fmla="*/ 509 w 828"/>
                    <a:gd name="T41" fmla="*/ 224 h 1768"/>
                    <a:gd name="T42" fmla="*/ 509 w 828"/>
                    <a:gd name="T43" fmla="*/ 229 h 1768"/>
                    <a:gd name="T44" fmla="*/ 321 w 828"/>
                    <a:gd name="T45" fmla="*/ 229 h 1768"/>
                    <a:gd name="T46" fmla="*/ 320 w 828"/>
                    <a:gd name="T47" fmla="*/ 224 h 1768"/>
                    <a:gd name="T48" fmla="*/ 235 w 828"/>
                    <a:gd name="T49" fmla="*/ 74 h 1768"/>
                    <a:gd name="T50" fmla="*/ 127 w 828"/>
                    <a:gd name="T51" fmla="*/ 4 h 1768"/>
                    <a:gd name="T52" fmla="*/ 98 w 828"/>
                    <a:gd name="T53" fmla="*/ 17 h 1768"/>
                    <a:gd name="T54" fmla="*/ 111 w 828"/>
                    <a:gd name="T55" fmla="*/ 45 h 1768"/>
                    <a:gd name="T56" fmla="*/ 204 w 828"/>
                    <a:gd name="T57" fmla="*/ 105 h 1768"/>
                    <a:gd name="T58" fmla="*/ 277 w 828"/>
                    <a:gd name="T59" fmla="*/ 234 h 1768"/>
                    <a:gd name="T60" fmla="*/ 103 w 828"/>
                    <a:gd name="T61" fmla="*/ 468 h 1768"/>
                    <a:gd name="T62" fmla="*/ 109 w 828"/>
                    <a:gd name="T63" fmla="*/ 518 h 1768"/>
                    <a:gd name="T64" fmla="*/ 721 w 828"/>
                    <a:gd name="T65" fmla="*/ 515 h 1768"/>
                    <a:gd name="T66" fmla="*/ 726 w 828"/>
                    <a:gd name="T67" fmla="*/ 465 h 1768"/>
                    <a:gd name="T68" fmla="*/ 552 w 828"/>
                    <a:gd name="T69" fmla="*/ 235 h 1768"/>
                    <a:gd name="T70" fmla="*/ 303 w 828"/>
                    <a:gd name="T71" fmla="*/ 765 h 1768"/>
                    <a:gd name="T72" fmla="*/ 74 w 828"/>
                    <a:gd name="T73" fmla="*/ 681 h 1768"/>
                    <a:gd name="T74" fmla="*/ 29 w 828"/>
                    <a:gd name="T75" fmla="*/ 726 h 1768"/>
                    <a:gd name="T76" fmla="*/ 5 w 828"/>
                    <a:gd name="T77" fmla="*/ 768 h 1768"/>
                    <a:gd name="T78" fmla="*/ 0 w 828"/>
                    <a:gd name="T79" fmla="*/ 867 h 1768"/>
                    <a:gd name="T80" fmla="*/ 3 w 828"/>
                    <a:gd name="T81" fmla="*/ 1388 h 1768"/>
                    <a:gd name="T82" fmla="*/ 9 w 828"/>
                    <a:gd name="T83" fmla="*/ 1459 h 1768"/>
                    <a:gd name="T84" fmla="*/ 38 w 828"/>
                    <a:gd name="T85" fmla="*/ 1526 h 1768"/>
                    <a:gd name="T86" fmla="*/ 50 w 828"/>
                    <a:gd name="T87" fmla="*/ 1547 h 1768"/>
                    <a:gd name="T88" fmla="*/ 89 w 828"/>
                    <a:gd name="T89" fmla="*/ 1608 h 1768"/>
                    <a:gd name="T90" fmla="*/ 149 w 828"/>
                    <a:gd name="T91" fmla="*/ 1671 h 1768"/>
                    <a:gd name="T92" fmla="*/ 303 w 828"/>
                    <a:gd name="T93" fmla="*/ 1768 h 1768"/>
                    <a:gd name="T94" fmla="*/ 303 w 828"/>
                    <a:gd name="T95" fmla="*/ 765 h 17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828" h="1768">
                      <a:moveTo>
                        <a:pt x="524" y="765"/>
                      </a:moveTo>
                      <a:cubicBezTo>
                        <a:pt x="583" y="752"/>
                        <a:pt x="675" y="727"/>
                        <a:pt x="754" y="681"/>
                      </a:cubicBezTo>
                      <a:cubicBezTo>
                        <a:pt x="798" y="726"/>
                        <a:pt x="798" y="726"/>
                        <a:pt x="798" y="726"/>
                      </a:cubicBezTo>
                      <a:cubicBezTo>
                        <a:pt x="816" y="744"/>
                        <a:pt x="821" y="755"/>
                        <a:pt x="823" y="768"/>
                      </a:cubicBezTo>
                      <a:cubicBezTo>
                        <a:pt x="828" y="867"/>
                        <a:pt x="828" y="867"/>
                        <a:pt x="828" y="867"/>
                      </a:cubicBezTo>
                      <a:cubicBezTo>
                        <a:pt x="825" y="1388"/>
                        <a:pt x="825" y="1388"/>
                        <a:pt x="825" y="1388"/>
                      </a:cubicBezTo>
                      <a:cubicBezTo>
                        <a:pt x="825" y="1410"/>
                        <a:pt x="824" y="1436"/>
                        <a:pt x="818" y="1459"/>
                      </a:cubicBezTo>
                      <a:cubicBezTo>
                        <a:pt x="789" y="1526"/>
                        <a:pt x="789" y="1526"/>
                        <a:pt x="789" y="1526"/>
                      </a:cubicBezTo>
                      <a:cubicBezTo>
                        <a:pt x="785" y="1533"/>
                        <a:pt x="782" y="1539"/>
                        <a:pt x="778" y="1546"/>
                      </a:cubicBezTo>
                      <a:cubicBezTo>
                        <a:pt x="765" y="1568"/>
                        <a:pt x="754" y="1588"/>
                        <a:pt x="739" y="1608"/>
                      </a:cubicBezTo>
                      <a:cubicBezTo>
                        <a:pt x="678" y="1671"/>
                        <a:pt x="678" y="1671"/>
                        <a:pt x="678" y="1671"/>
                      </a:cubicBezTo>
                      <a:cubicBezTo>
                        <a:pt x="616" y="1729"/>
                        <a:pt x="567" y="1755"/>
                        <a:pt x="524" y="1768"/>
                      </a:cubicBezTo>
                      <a:lnTo>
                        <a:pt x="524" y="765"/>
                      </a:lnTo>
                      <a:close/>
                      <a:moveTo>
                        <a:pt x="552" y="235"/>
                      </a:moveTo>
                      <a:cubicBezTo>
                        <a:pt x="552" y="235"/>
                        <a:pt x="552" y="235"/>
                        <a:pt x="552" y="235"/>
                      </a:cubicBezTo>
                      <a:cubicBezTo>
                        <a:pt x="561" y="200"/>
                        <a:pt x="581" y="150"/>
                        <a:pt x="626" y="105"/>
                      </a:cubicBezTo>
                      <a:cubicBezTo>
                        <a:pt x="652" y="79"/>
                        <a:pt x="683" y="59"/>
                        <a:pt x="719" y="45"/>
                      </a:cubicBezTo>
                      <a:cubicBezTo>
                        <a:pt x="730" y="41"/>
                        <a:pt x="736" y="28"/>
                        <a:pt x="731" y="17"/>
                      </a:cubicBezTo>
                      <a:cubicBezTo>
                        <a:pt x="727" y="6"/>
                        <a:pt x="714" y="0"/>
                        <a:pt x="703" y="4"/>
                      </a:cubicBezTo>
                      <a:cubicBezTo>
                        <a:pt x="662" y="20"/>
                        <a:pt x="626" y="44"/>
                        <a:pt x="595" y="74"/>
                      </a:cubicBezTo>
                      <a:cubicBezTo>
                        <a:pt x="542" y="126"/>
                        <a:pt x="519" y="184"/>
                        <a:pt x="509" y="224"/>
                      </a:cubicBezTo>
                      <a:cubicBezTo>
                        <a:pt x="509" y="226"/>
                        <a:pt x="509" y="227"/>
                        <a:pt x="509" y="229"/>
                      </a:cubicBezTo>
                      <a:cubicBezTo>
                        <a:pt x="321" y="229"/>
                        <a:pt x="321" y="229"/>
                        <a:pt x="321" y="229"/>
                      </a:cubicBezTo>
                      <a:cubicBezTo>
                        <a:pt x="321" y="227"/>
                        <a:pt x="321" y="226"/>
                        <a:pt x="320" y="224"/>
                      </a:cubicBezTo>
                      <a:cubicBezTo>
                        <a:pt x="310" y="184"/>
                        <a:pt x="287" y="126"/>
                        <a:pt x="235" y="74"/>
                      </a:cubicBezTo>
                      <a:cubicBezTo>
                        <a:pt x="204" y="44"/>
                        <a:pt x="168" y="20"/>
                        <a:pt x="127" y="4"/>
                      </a:cubicBezTo>
                      <a:cubicBezTo>
                        <a:pt x="116" y="0"/>
                        <a:pt x="103" y="6"/>
                        <a:pt x="98" y="17"/>
                      </a:cubicBezTo>
                      <a:cubicBezTo>
                        <a:pt x="94" y="28"/>
                        <a:pt x="100" y="41"/>
                        <a:pt x="111" y="45"/>
                      </a:cubicBezTo>
                      <a:cubicBezTo>
                        <a:pt x="146" y="59"/>
                        <a:pt x="177" y="79"/>
                        <a:pt x="204" y="105"/>
                      </a:cubicBezTo>
                      <a:cubicBezTo>
                        <a:pt x="248" y="149"/>
                        <a:pt x="268" y="199"/>
                        <a:pt x="277" y="234"/>
                      </a:cubicBezTo>
                      <a:cubicBezTo>
                        <a:pt x="103" y="468"/>
                        <a:pt x="103" y="468"/>
                        <a:pt x="103" y="468"/>
                      </a:cubicBezTo>
                      <a:cubicBezTo>
                        <a:pt x="92" y="479"/>
                        <a:pt x="92" y="502"/>
                        <a:pt x="109" y="518"/>
                      </a:cubicBezTo>
                      <a:cubicBezTo>
                        <a:pt x="277" y="684"/>
                        <a:pt x="555" y="683"/>
                        <a:pt x="721" y="515"/>
                      </a:cubicBezTo>
                      <a:cubicBezTo>
                        <a:pt x="732" y="504"/>
                        <a:pt x="738" y="476"/>
                        <a:pt x="726" y="465"/>
                      </a:cubicBezTo>
                      <a:lnTo>
                        <a:pt x="552" y="235"/>
                      </a:lnTo>
                      <a:close/>
                      <a:moveTo>
                        <a:pt x="303" y="765"/>
                      </a:moveTo>
                      <a:cubicBezTo>
                        <a:pt x="245" y="752"/>
                        <a:pt x="153" y="727"/>
                        <a:pt x="74" y="681"/>
                      </a:cubicBezTo>
                      <a:cubicBezTo>
                        <a:pt x="29" y="726"/>
                        <a:pt x="29" y="726"/>
                        <a:pt x="29" y="726"/>
                      </a:cubicBezTo>
                      <a:cubicBezTo>
                        <a:pt x="12" y="744"/>
                        <a:pt x="7" y="755"/>
                        <a:pt x="5" y="768"/>
                      </a:cubicBezTo>
                      <a:cubicBezTo>
                        <a:pt x="0" y="867"/>
                        <a:pt x="0" y="867"/>
                        <a:pt x="0" y="867"/>
                      </a:cubicBezTo>
                      <a:cubicBezTo>
                        <a:pt x="3" y="1388"/>
                        <a:pt x="3" y="1388"/>
                        <a:pt x="3" y="1388"/>
                      </a:cubicBezTo>
                      <a:cubicBezTo>
                        <a:pt x="3" y="1410"/>
                        <a:pt x="4" y="1436"/>
                        <a:pt x="9" y="1459"/>
                      </a:cubicBezTo>
                      <a:cubicBezTo>
                        <a:pt x="38" y="1526"/>
                        <a:pt x="38" y="1526"/>
                        <a:pt x="38" y="1526"/>
                      </a:cubicBezTo>
                      <a:cubicBezTo>
                        <a:pt x="42" y="1533"/>
                        <a:pt x="46" y="1540"/>
                        <a:pt x="50" y="1547"/>
                      </a:cubicBezTo>
                      <a:cubicBezTo>
                        <a:pt x="62" y="1568"/>
                        <a:pt x="74" y="1588"/>
                        <a:pt x="89" y="1608"/>
                      </a:cubicBezTo>
                      <a:cubicBezTo>
                        <a:pt x="149" y="1671"/>
                        <a:pt x="149" y="1671"/>
                        <a:pt x="149" y="1671"/>
                      </a:cubicBezTo>
                      <a:cubicBezTo>
                        <a:pt x="212" y="1729"/>
                        <a:pt x="261" y="1755"/>
                        <a:pt x="303" y="1768"/>
                      </a:cubicBezTo>
                      <a:lnTo>
                        <a:pt x="303" y="765"/>
                      </a:lnTo>
                      <a:close/>
                    </a:path>
                  </a:pathLst>
                </a:custGeom>
                <a:solidFill>
                  <a:srgbClr val="F05A28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3" name="Group 12"/>
          <p:cNvGrpSpPr/>
          <p:nvPr/>
        </p:nvGrpSpPr>
        <p:grpSpPr>
          <a:xfrm>
            <a:off x="2097585" y="5868346"/>
            <a:ext cx="1990347" cy="652803"/>
            <a:chOff x="835208" y="5807411"/>
            <a:chExt cx="1990347" cy="652803"/>
          </a:xfrm>
        </p:grpSpPr>
        <p:sp>
          <p:nvSpPr>
            <p:cNvPr id="243" name="object 33">
              <a:extLst>
                <a:ext uri="{FF2B5EF4-FFF2-40B4-BE49-F238E27FC236}">
                  <a16:creationId xmlns:a16="http://schemas.microsoft.com/office/drawing/2014/main" id="{201E82DC-C46F-43E5-AD79-EE334E927D26}"/>
                </a:ext>
              </a:extLst>
            </p:cNvPr>
            <p:cNvSpPr txBox="1"/>
            <p:nvPr/>
          </p:nvSpPr>
          <p:spPr>
            <a:xfrm>
              <a:off x="1292653" y="5840412"/>
              <a:ext cx="1532902" cy="512641"/>
            </a:xfrm>
            <a:prstGeom prst="rect">
              <a:avLst/>
            </a:prstGeom>
          </p:spPr>
          <p:txBody>
            <a:bodyPr vert="horz" wrap="square" lIns="0" tIns="37465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ts val="1760"/>
                </a:lnSpc>
                <a:spcBef>
                  <a:spcPts val="295"/>
                </a:spcBef>
                <a:defRPr sz="1600" spc="-20">
                  <a:solidFill>
                    <a:srgbClr val="6D6E73"/>
                  </a:solidFill>
                  <a:latin typeface="Trebuchet MS"/>
                </a:defRPr>
              </a:lvl1pPr>
            </a:lstStyle>
            <a:p>
              <a:pPr marL="12700" marR="5080" lvl="0" indent="0" algn="l" defTabSz="914400" rtl="0" eaLnBrk="1" fontAlgn="auto" latinLnBrk="0" hangingPunct="1">
                <a:lnSpc>
                  <a:spcPts val="1760"/>
                </a:lnSpc>
                <a:spcBef>
                  <a:spcPts val="2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F15A2B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30+% </a:t>
              </a:r>
            </a:p>
            <a:p>
              <a:pPr marL="12700" marR="5080" lvl="0" indent="0" algn="l" defTabSz="914400" rtl="0" eaLnBrk="1" fontAlgn="auto" latinLnBrk="0" hangingPunct="1">
                <a:lnSpc>
                  <a:spcPts val="1760"/>
                </a:lnSpc>
                <a:spcBef>
                  <a:spcPts val="2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6D6E7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faster integrated release</a:t>
              </a:r>
              <a:endParaRPr kumimoji="0" sz="1100" b="0" i="0" u="none" strike="noStrike" kern="1200" cap="none" spc="-20" normalizeH="0" baseline="0" noProof="0" dirty="0">
                <a:ln>
                  <a:noFill/>
                </a:ln>
                <a:solidFill>
                  <a:srgbClr val="6D6E7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58" name="bcgBugs_Network">
              <a:extLst>
                <a:ext uri="{FF2B5EF4-FFF2-40B4-BE49-F238E27FC236}">
                  <a16:creationId xmlns:a16="http://schemas.microsoft.com/office/drawing/2014/main" id="{D4B165BC-9EB0-43F5-A1F8-60D42EF6BD8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5208" y="5807411"/>
              <a:ext cx="906266" cy="652803"/>
              <a:chOff x="1265" y="592"/>
              <a:chExt cx="3597" cy="2591"/>
            </a:xfrm>
          </p:grpSpPr>
          <p:sp>
            <p:nvSpPr>
              <p:cNvPr id="259" name="AutoShape 3">
                <a:extLst>
                  <a:ext uri="{FF2B5EF4-FFF2-40B4-BE49-F238E27FC236}">
                    <a16:creationId xmlns:a16="http://schemas.microsoft.com/office/drawing/2014/main" id="{9676C714-6FB4-4EE3-92D5-0B96C4B39FC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0" name="Freeform 259">
                <a:extLst>
                  <a:ext uri="{FF2B5EF4-FFF2-40B4-BE49-F238E27FC236}">
                    <a16:creationId xmlns:a16="http://schemas.microsoft.com/office/drawing/2014/main" id="{817287E1-ACBB-45FD-8087-BD8C1D2A47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5" y="592"/>
                <a:ext cx="1551" cy="1796"/>
              </a:xfrm>
              <a:custGeom>
                <a:avLst/>
                <a:gdLst>
                  <a:gd name="T0" fmla="*/ 655 w 758"/>
                  <a:gd name="T1" fmla="*/ 373 h 877"/>
                  <a:gd name="T2" fmla="*/ 747 w 758"/>
                  <a:gd name="T3" fmla="*/ 332 h 877"/>
                  <a:gd name="T4" fmla="*/ 747 w 758"/>
                  <a:gd name="T5" fmla="*/ 212 h 877"/>
                  <a:gd name="T6" fmla="*/ 584 w 758"/>
                  <a:gd name="T7" fmla="*/ 212 h 877"/>
                  <a:gd name="T8" fmla="*/ 516 w 758"/>
                  <a:gd name="T9" fmla="*/ 334 h 877"/>
                  <a:gd name="T10" fmla="*/ 460 w 758"/>
                  <a:gd name="T11" fmla="*/ 165 h 877"/>
                  <a:gd name="T12" fmla="*/ 460 w 758"/>
                  <a:gd name="T13" fmla="*/ 45 h 877"/>
                  <a:gd name="T14" fmla="*/ 297 w 758"/>
                  <a:gd name="T15" fmla="*/ 45 h 877"/>
                  <a:gd name="T16" fmla="*/ 297 w 758"/>
                  <a:gd name="T17" fmla="*/ 165 h 877"/>
                  <a:gd name="T18" fmla="*/ 240 w 758"/>
                  <a:gd name="T19" fmla="*/ 334 h 877"/>
                  <a:gd name="T20" fmla="*/ 174 w 758"/>
                  <a:gd name="T21" fmla="*/ 212 h 877"/>
                  <a:gd name="T22" fmla="*/ 11 w 758"/>
                  <a:gd name="T23" fmla="*/ 212 h 877"/>
                  <a:gd name="T24" fmla="*/ 11 w 758"/>
                  <a:gd name="T25" fmla="*/ 332 h 877"/>
                  <a:gd name="T26" fmla="*/ 103 w 758"/>
                  <a:gd name="T27" fmla="*/ 373 h 877"/>
                  <a:gd name="T28" fmla="*/ 218 w 758"/>
                  <a:gd name="T29" fmla="*/ 506 h 877"/>
                  <a:gd name="T30" fmla="*/ 81 w 758"/>
                  <a:gd name="T31" fmla="*/ 505 h 877"/>
                  <a:gd name="T32" fmla="*/ 0 w 758"/>
                  <a:gd name="T33" fmla="*/ 647 h 877"/>
                  <a:gd name="T34" fmla="*/ 92 w 758"/>
                  <a:gd name="T35" fmla="*/ 710 h 877"/>
                  <a:gd name="T36" fmla="*/ 185 w 758"/>
                  <a:gd name="T37" fmla="*/ 647 h 877"/>
                  <a:gd name="T38" fmla="*/ 356 w 758"/>
                  <a:gd name="T39" fmla="*/ 611 h 877"/>
                  <a:gd name="T40" fmla="*/ 286 w 758"/>
                  <a:gd name="T41" fmla="*/ 732 h 877"/>
                  <a:gd name="T42" fmla="*/ 367 w 758"/>
                  <a:gd name="T43" fmla="*/ 874 h 877"/>
                  <a:gd name="T44" fmla="*/ 460 w 758"/>
                  <a:gd name="T45" fmla="*/ 833 h 877"/>
                  <a:gd name="T46" fmla="*/ 460 w 758"/>
                  <a:gd name="T47" fmla="*/ 713 h 877"/>
                  <a:gd name="T48" fmla="*/ 516 w 758"/>
                  <a:gd name="T49" fmla="*/ 544 h 877"/>
                  <a:gd name="T50" fmla="*/ 584 w 758"/>
                  <a:gd name="T51" fmla="*/ 666 h 877"/>
                  <a:gd name="T52" fmla="*/ 677 w 758"/>
                  <a:gd name="T53" fmla="*/ 707 h 877"/>
                  <a:gd name="T54" fmla="*/ 758 w 758"/>
                  <a:gd name="T55" fmla="*/ 565 h 877"/>
                  <a:gd name="T56" fmla="*/ 655 w 758"/>
                  <a:gd name="T57" fmla="*/ 505 h 877"/>
                  <a:gd name="T58" fmla="*/ 538 w 758"/>
                  <a:gd name="T59" fmla="*/ 372 h 877"/>
                  <a:gd name="T60" fmla="*/ 378 w 758"/>
                  <a:gd name="T61" fmla="*/ 305 h 877"/>
                  <a:gd name="T62" fmla="*/ 617 w 758"/>
                  <a:gd name="T63" fmla="*/ 244 h 877"/>
                  <a:gd name="T64" fmla="*/ 714 w 758"/>
                  <a:gd name="T65" fmla="*/ 300 h 877"/>
                  <a:gd name="T66" fmla="*/ 617 w 758"/>
                  <a:gd name="T67" fmla="*/ 244 h 877"/>
                  <a:gd name="T68" fmla="*/ 427 w 758"/>
                  <a:gd name="T69" fmla="*/ 77 h 877"/>
                  <a:gd name="T70" fmla="*/ 330 w 758"/>
                  <a:gd name="T71" fmla="*/ 133 h 877"/>
                  <a:gd name="T72" fmla="*/ 92 w 758"/>
                  <a:gd name="T73" fmla="*/ 328 h 877"/>
                  <a:gd name="T74" fmla="*/ 92 w 758"/>
                  <a:gd name="T75" fmla="*/ 216 h 877"/>
                  <a:gd name="T76" fmla="*/ 141 w 758"/>
                  <a:gd name="T77" fmla="*/ 634 h 877"/>
                  <a:gd name="T78" fmla="*/ 44 w 758"/>
                  <a:gd name="T79" fmla="*/ 578 h 877"/>
                  <a:gd name="T80" fmla="*/ 141 w 758"/>
                  <a:gd name="T81" fmla="*/ 634 h 877"/>
                  <a:gd name="T82" fmla="*/ 356 w 758"/>
                  <a:gd name="T83" fmla="*/ 560 h 877"/>
                  <a:gd name="T84" fmla="*/ 427 w 758"/>
                  <a:gd name="T85" fmla="*/ 801 h 877"/>
                  <a:gd name="T86" fmla="*/ 330 w 758"/>
                  <a:gd name="T87" fmla="*/ 745 h 877"/>
                  <a:gd name="T88" fmla="*/ 427 w 758"/>
                  <a:gd name="T89" fmla="*/ 801 h 877"/>
                  <a:gd name="T90" fmla="*/ 494 w 758"/>
                  <a:gd name="T91" fmla="*/ 397 h 877"/>
                  <a:gd name="T92" fmla="*/ 617 w 758"/>
                  <a:gd name="T93" fmla="*/ 578 h 877"/>
                  <a:gd name="T94" fmla="*/ 714 w 758"/>
                  <a:gd name="T95" fmla="*/ 634 h 877"/>
                  <a:gd name="T96" fmla="*/ 617 w 758"/>
                  <a:gd name="T97" fmla="*/ 578 h 8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58" h="877">
                    <a:moveTo>
                      <a:pt x="538" y="372"/>
                    </a:moveTo>
                    <a:cubicBezTo>
                      <a:pt x="595" y="338"/>
                      <a:pt x="595" y="338"/>
                      <a:pt x="595" y="338"/>
                    </a:cubicBezTo>
                    <a:cubicBezTo>
                      <a:pt x="655" y="373"/>
                      <a:pt x="655" y="373"/>
                      <a:pt x="655" y="373"/>
                    </a:cubicBezTo>
                    <a:cubicBezTo>
                      <a:pt x="658" y="375"/>
                      <a:pt x="662" y="376"/>
                      <a:pt x="666" y="376"/>
                    </a:cubicBezTo>
                    <a:cubicBezTo>
                      <a:pt x="669" y="376"/>
                      <a:pt x="673" y="375"/>
                      <a:pt x="677" y="373"/>
                    </a:cubicBezTo>
                    <a:cubicBezTo>
                      <a:pt x="747" y="332"/>
                      <a:pt x="747" y="332"/>
                      <a:pt x="747" y="332"/>
                    </a:cubicBezTo>
                    <a:cubicBezTo>
                      <a:pt x="754" y="328"/>
                      <a:pt x="758" y="321"/>
                      <a:pt x="758" y="313"/>
                    </a:cubicBezTo>
                    <a:cubicBezTo>
                      <a:pt x="758" y="231"/>
                      <a:pt x="758" y="231"/>
                      <a:pt x="758" y="231"/>
                    </a:cubicBezTo>
                    <a:cubicBezTo>
                      <a:pt x="758" y="223"/>
                      <a:pt x="754" y="216"/>
                      <a:pt x="747" y="212"/>
                    </a:cubicBezTo>
                    <a:cubicBezTo>
                      <a:pt x="677" y="171"/>
                      <a:pt x="677" y="171"/>
                      <a:pt x="677" y="171"/>
                    </a:cubicBezTo>
                    <a:cubicBezTo>
                      <a:pt x="670" y="168"/>
                      <a:pt x="661" y="168"/>
                      <a:pt x="655" y="171"/>
                    </a:cubicBezTo>
                    <a:cubicBezTo>
                      <a:pt x="584" y="212"/>
                      <a:pt x="584" y="212"/>
                      <a:pt x="584" y="212"/>
                    </a:cubicBezTo>
                    <a:cubicBezTo>
                      <a:pt x="577" y="216"/>
                      <a:pt x="573" y="223"/>
                      <a:pt x="573" y="231"/>
                    </a:cubicBezTo>
                    <a:cubicBezTo>
                      <a:pt x="573" y="300"/>
                      <a:pt x="573" y="300"/>
                      <a:pt x="573" y="300"/>
                    </a:cubicBezTo>
                    <a:cubicBezTo>
                      <a:pt x="516" y="334"/>
                      <a:pt x="516" y="334"/>
                      <a:pt x="516" y="334"/>
                    </a:cubicBezTo>
                    <a:cubicBezTo>
                      <a:pt x="400" y="267"/>
                      <a:pt x="400" y="267"/>
                      <a:pt x="400" y="267"/>
                    </a:cubicBezTo>
                    <a:cubicBezTo>
                      <a:pt x="400" y="199"/>
                      <a:pt x="400" y="199"/>
                      <a:pt x="400" y="199"/>
                    </a:cubicBezTo>
                    <a:cubicBezTo>
                      <a:pt x="460" y="165"/>
                      <a:pt x="460" y="165"/>
                      <a:pt x="460" y="165"/>
                    </a:cubicBezTo>
                    <a:cubicBezTo>
                      <a:pt x="467" y="161"/>
                      <a:pt x="471" y="153"/>
                      <a:pt x="471" y="146"/>
                    </a:cubicBezTo>
                    <a:cubicBezTo>
                      <a:pt x="471" y="64"/>
                      <a:pt x="471" y="64"/>
                      <a:pt x="471" y="64"/>
                    </a:cubicBezTo>
                    <a:cubicBezTo>
                      <a:pt x="471" y="56"/>
                      <a:pt x="467" y="49"/>
                      <a:pt x="460" y="45"/>
                    </a:cubicBezTo>
                    <a:cubicBezTo>
                      <a:pt x="389" y="4"/>
                      <a:pt x="389" y="4"/>
                      <a:pt x="389" y="4"/>
                    </a:cubicBezTo>
                    <a:cubicBezTo>
                      <a:pt x="383" y="0"/>
                      <a:pt x="374" y="0"/>
                      <a:pt x="367" y="4"/>
                    </a:cubicBezTo>
                    <a:cubicBezTo>
                      <a:pt x="297" y="45"/>
                      <a:pt x="297" y="45"/>
                      <a:pt x="297" y="45"/>
                    </a:cubicBezTo>
                    <a:cubicBezTo>
                      <a:pt x="290" y="49"/>
                      <a:pt x="286" y="56"/>
                      <a:pt x="286" y="64"/>
                    </a:cubicBezTo>
                    <a:cubicBezTo>
                      <a:pt x="286" y="146"/>
                      <a:pt x="286" y="146"/>
                      <a:pt x="286" y="146"/>
                    </a:cubicBezTo>
                    <a:cubicBezTo>
                      <a:pt x="286" y="153"/>
                      <a:pt x="290" y="161"/>
                      <a:pt x="297" y="165"/>
                    </a:cubicBezTo>
                    <a:cubicBezTo>
                      <a:pt x="356" y="199"/>
                      <a:pt x="356" y="199"/>
                      <a:pt x="356" y="199"/>
                    </a:cubicBezTo>
                    <a:cubicBezTo>
                      <a:pt x="356" y="267"/>
                      <a:pt x="356" y="267"/>
                      <a:pt x="356" y="267"/>
                    </a:cubicBezTo>
                    <a:cubicBezTo>
                      <a:pt x="240" y="334"/>
                      <a:pt x="240" y="334"/>
                      <a:pt x="240" y="334"/>
                    </a:cubicBezTo>
                    <a:cubicBezTo>
                      <a:pt x="185" y="301"/>
                      <a:pt x="185" y="301"/>
                      <a:pt x="185" y="301"/>
                    </a:cubicBezTo>
                    <a:cubicBezTo>
                      <a:pt x="185" y="231"/>
                      <a:pt x="185" y="231"/>
                      <a:pt x="185" y="231"/>
                    </a:cubicBezTo>
                    <a:cubicBezTo>
                      <a:pt x="185" y="223"/>
                      <a:pt x="181" y="216"/>
                      <a:pt x="174" y="212"/>
                    </a:cubicBezTo>
                    <a:cubicBezTo>
                      <a:pt x="103" y="171"/>
                      <a:pt x="103" y="171"/>
                      <a:pt x="103" y="171"/>
                    </a:cubicBezTo>
                    <a:cubicBezTo>
                      <a:pt x="97" y="168"/>
                      <a:pt x="88" y="168"/>
                      <a:pt x="81" y="171"/>
                    </a:cubicBezTo>
                    <a:cubicBezTo>
                      <a:pt x="11" y="212"/>
                      <a:pt x="11" y="212"/>
                      <a:pt x="11" y="212"/>
                    </a:cubicBezTo>
                    <a:cubicBezTo>
                      <a:pt x="4" y="216"/>
                      <a:pt x="0" y="223"/>
                      <a:pt x="0" y="231"/>
                    </a:cubicBezTo>
                    <a:cubicBezTo>
                      <a:pt x="0" y="313"/>
                      <a:pt x="0" y="313"/>
                      <a:pt x="0" y="313"/>
                    </a:cubicBezTo>
                    <a:cubicBezTo>
                      <a:pt x="0" y="321"/>
                      <a:pt x="4" y="328"/>
                      <a:pt x="11" y="332"/>
                    </a:cubicBezTo>
                    <a:cubicBezTo>
                      <a:pt x="81" y="373"/>
                      <a:pt x="81" y="373"/>
                      <a:pt x="81" y="373"/>
                    </a:cubicBezTo>
                    <a:cubicBezTo>
                      <a:pt x="85" y="375"/>
                      <a:pt x="89" y="376"/>
                      <a:pt x="92" y="376"/>
                    </a:cubicBezTo>
                    <a:cubicBezTo>
                      <a:pt x="96" y="376"/>
                      <a:pt x="100" y="375"/>
                      <a:pt x="103" y="373"/>
                    </a:cubicBezTo>
                    <a:cubicBezTo>
                      <a:pt x="163" y="339"/>
                      <a:pt x="163" y="339"/>
                      <a:pt x="163" y="339"/>
                    </a:cubicBezTo>
                    <a:cubicBezTo>
                      <a:pt x="218" y="372"/>
                      <a:pt x="218" y="372"/>
                      <a:pt x="218" y="372"/>
                    </a:cubicBezTo>
                    <a:cubicBezTo>
                      <a:pt x="218" y="506"/>
                      <a:pt x="218" y="506"/>
                      <a:pt x="218" y="506"/>
                    </a:cubicBezTo>
                    <a:cubicBezTo>
                      <a:pt x="163" y="539"/>
                      <a:pt x="163" y="539"/>
                      <a:pt x="163" y="539"/>
                    </a:cubicBezTo>
                    <a:cubicBezTo>
                      <a:pt x="103" y="505"/>
                      <a:pt x="103" y="505"/>
                      <a:pt x="103" y="505"/>
                    </a:cubicBezTo>
                    <a:cubicBezTo>
                      <a:pt x="97" y="501"/>
                      <a:pt x="88" y="501"/>
                      <a:pt x="81" y="505"/>
                    </a:cubicBezTo>
                    <a:cubicBezTo>
                      <a:pt x="11" y="546"/>
                      <a:pt x="11" y="546"/>
                      <a:pt x="11" y="546"/>
                    </a:cubicBezTo>
                    <a:cubicBezTo>
                      <a:pt x="4" y="550"/>
                      <a:pt x="0" y="557"/>
                      <a:pt x="0" y="565"/>
                    </a:cubicBezTo>
                    <a:cubicBezTo>
                      <a:pt x="0" y="647"/>
                      <a:pt x="0" y="647"/>
                      <a:pt x="0" y="647"/>
                    </a:cubicBezTo>
                    <a:cubicBezTo>
                      <a:pt x="0" y="655"/>
                      <a:pt x="4" y="662"/>
                      <a:pt x="11" y="666"/>
                    </a:cubicBezTo>
                    <a:cubicBezTo>
                      <a:pt x="81" y="707"/>
                      <a:pt x="81" y="707"/>
                      <a:pt x="81" y="707"/>
                    </a:cubicBezTo>
                    <a:cubicBezTo>
                      <a:pt x="85" y="709"/>
                      <a:pt x="89" y="710"/>
                      <a:pt x="92" y="710"/>
                    </a:cubicBezTo>
                    <a:cubicBezTo>
                      <a:pt x="96" y="710"/>
                      <a:pt x="100" y="709"/>
                      <a:pt x="103" y="707"/>
                    </a:cubicBezTo>
                    <a:cubicBezTo>
                      <a:pt x="174" y="666"/>
                      <a:pt x="174" y="666"/>
                      <a:pt x="174" y="666"/>
                    </a:cubicBezTo>
                    <a:cubicBezTo>
                      <a:pt x="181" y="662"/>
                      <a:pt x="185" y="655"/>
                      <a:pt x="185" y="647"/>
                    </a:cubicBezTo>
                    <a:cubicBezTo>
                      <a:pt x="185" y="577"/>
                      <a:pt x="185" y="577"/>
                      <a:pt x="185" y="577"/>
                    </a:cubicBezTo>
                    <a:cubicBezTo>
                      <a:pt x="240" y="544"/>
                      <a:pt x="240" y="544"/>
                      <a:pt x="240" y="544"/>
                    </a:cubicBezTo>
                    <a:cubicBezTo>
                      <a:pt x="356" y="611"/>
                      <a:pt x="356" y="611"/>
                      <a:pt x="356" y="611"/>
                    </a:cubicBezTo>
                    <a:cubicBezTo>
                      <a:pt x="356" y="679"/>
                      <a:pt x="356" y="679"/>
                      <a:pt x="356" y="679"/>
                    </a:cubicBezTo>
                    <a:cubicBezTo>
                      <a:pt x="297" y="713"/>
                      <a:pt x="297" y="713"/>
                      <a:pt x="297" y="713"/>
                    </a:cubicBezTo>
                    <a:cubicBezTo>
                      <a:pt x="290" y="717"/>
                      <a:pt x="286" y="725"/>
                      <a:pt x="286" y="732"/>
                    </a:cubicBezTo>
                    <a:cubicBezTo>
                      <a:pt x="286" y="814"/>
                      <a:pt x="286" y="814"/>
                      <a:pt x="286" y="814"/>
                    </a:cubicBezTo>
                    <a:cubicBezTo>
                      <a:pt x="286" y="822"/>
                      <a:pt x="290" y="829"/>
                      <a:pt x="297" y="833"/>
                    </a:cubicBezTo>
                    <a:cubicBezTo>
                      <a:pt x="367" y="874"/>
                      <a:pt x="367" y="874"/>
                      <a:pt x="367" y="874"/>
                    </a:cubicBezTo>
                    <a:cubicBezTo>
                      <a:pt x="371" y="876"/>
                      <a:pt x="375" y="877"/>
                      <a:pt x="378" y="877"/>
                    </a:cubicBezTo>
                    <a:cubicBezTo>
                      <a:pt x="382" y="877"/>
                      <a:pt x="386" y="876"/>
                      <a:pt x="389" y="874"/>
                    </a:cubicBezTo>
                    <a:cubicBezTo>
                      <a:pt x="460" y="833"/>
                      <a:pt x="460" y="833"/>
                      <a:pt x="460" y="833"/>
                    </a:cubicBezTo>
                    <a:cubicBezTo>
                      <a:pt x="467" y="829"/>
                      <a:pt x="471" y="822"/>
                      <a:pt x="471" y="814"/>
                    </a:cubicBezTo>
                    <a:cubicBezTo>
                      <a:pt x="471" y="732"/>
                      <a:pt x="471" y="732"/>
                      <a:pt x="471" y="732"/>
                    </a:cubicBezTo>
                    <a:cubicBezTo>
                      <a:pt x="471" y="725"/>
                      <a:pt x="467" y="717"/>
                      <a:pt x="460" y="713"/>
                    </a:cubicBezTo>
                    <a:cubicBezTo>
                      <a:pt x="400" y="679"/>
                      <a:pt x="400" y="679"/>
                      <a:pt x="400" y="679"/>
                    </a:cubicBezTo>
                    <a:cubicBezTo>
                      <a:pt x="400" y="611"/>
                      <a:pt x="400" y="611"/>
                      <a:pt x="400" y="611"/>
                    </a:cubicBezTo>
                    <a:cubicBezTo>
                      <a:pt x="516" y="544"/>
                      <a:pt x="516" y="544"/>
                      <a:pt x="516" y="544"/>
                    </a:cubicBezTo>
                    <a:cubicBezTo>
                      <a:pt x="573" y="578"/>
                      <a:pt x="573" y="578"/>
                      <a:pt x="573" y="578"/>
                    </a:cubicBezTo>
                    <a:cubicBezTo>
                      <a:pt x="573" y="647"/>
                      <a:pt x="573" y="647"/>
                      <a:pt x="573" y="647"/>
                    </a:cubicBezTo>
                    <a:cubicBezTo>
                      <a:pt x="573" y="655"/>
                      <a:pt x="577" y="662"/>
                      <a:pt x="584" y="666"/>
                    </a:cubicBezTo>
                    <a:cubicBezTo>
                      <a:pt x="655" y="707"/>
                      <a:pt x="655" y="707"/>
                      <a:pt x="655" y="707"/>
                    </a:cubicBezTo>
                    <a:cubicBezTo>
                      <a:pt x="658" y="709"/>
                      <a:pt x="662" y="710"/>
                      <a:pt x="666" y="710"/>
                    </a:cubicBezTo>
                    <a:cubicBezTo>
                      <a:pt x="669" y="710"/>
                      <a:pt x="673" y="709"/>
                      <a:pt x="677" y="707"/>
                    </a:cubicBezTo>
                    <a:cubicBezTo>
                      <a:pt x="747" y="666"/>
                      <a:pt x="747" y="666"/>
                      <a:pt x="747" y="666"/>
                    </a:cubicBezTo>
                    <a:cubicBezTo>
                      <a:pt x="754" y="662"/>
                      <a:pt x="758" y="655"/>
                      <a:pt x="758" y="647"/>
                    </a:cubicBezTo>
                    <a:cubicBezTo>
                      <a:pt x="758" y="565"/>
                      <a:pt x="758" y="565"/>
                      <a:pt x="758" y="565"/>
                    </a:cubicBezTo>
                    <a:cubicBezTo>
                      <a:pt x="758" y="557"/>
                      <a:pt x="754" y="550"/>
                      <a:pt x="747" y="546"/>
                    </a:cubicBezTo>
                    <a:cubicBezTo>
                      <a:pt x="677" y="505"/>
                      <a:pt x="677" y="505"/>
                      <a:pt x="677" y="505"/>
                    </a:cubicBezTo>
                    <a:cubicBezTo>
                      <a:pt x="670" y="501"/>
                      <a:pt x="661" y="501"/>
                      <a:pt x="655" y="505"/>
                    </a:cubicBezTo>
                    <a:cubicBezTo>
                      <a:pt x="595" y="540"/>
                      <a:pt x="595" y="540"/>
                      <a:pt x="595" y="540"/>
                    </a:cubicBezTo>
                    <a:cubicBezTo>
                      <a:pt x="538" y="506"/>
                      <a:pt x="538" y="506"/>
                      <a:pt x="538" y="506"/>
                    </a:cubicBezTo>
                    <a:lnTo>
                      <a:pt x="538" y="372"/>
                    </a:lnTo>
                    <a:close/>
                    <a:moveTo>
                      <a:pt x="378" y="414"/>
                    </a:moveTo>
                    <a:cubicBezTo>
                      <a:pt x="284" y="359"/>
                      <a:pt x="284" y="359"/>
                      <a:pt x="284" y="359"/>
                    </a:cubicBezTo>
                    <a:cubicBezTo>
                      <a:pt x="378" y="305"/>
                      <a:pt x="378" y="305"/>
                      <a:pt x="378" y="305"/>
                    </a:cubicBezTo>
                    <a:cubicBezTo>
                      <a:pt x="472" y="359"/>
                      <a:pt x="472" y="359"/>
                      <a:pt x="472" y="359"/>
                    </a:cubicBezTo>
                    <a:lnTo>
                      <a:pt x="378" y="414"/>
                    </a:lnTo>
                    <a:close/>
                    <a:moveTo>
                      <a:pt x="617" y="244"/>
                    </a:moveTo>
                    <a:cubicBezTo>
                      <a:pt x="666" y="216"/>
                      <a:pt x="666" y="216"/>
                      <a:pt x="666" y="216"/>
                    </a:cubicBezTo>
                    <a:cubicBezTo>
                      <a:pt x="714" y="244"/>
                      <a:pt x="714" y="244"/>
                      <a:pt x="714" y="244"/>
                    </a:cubicBezTo>
                    <a:cubicBezTo>
                      <a:pt x="714" y="300"/>
                      <a:pt x="714" y="300"/>
                      <a:pt x="714" y="300"/>
                    </a:cubicBezTo>
                    <a:cubicBezTo>
                      <a:pt x="666" y="328"/>
                      <a:pt x="666" y="328"/>
                      <a:pt x="666" y="328"/>
                    </a:cubicBezTo>
                    <a:cubicBezTo>
                      <a:pt x="617" y="300"/>
                      <a:pt x="617" y="300"/>
                      <a:pt x="617" y="300"/>
                    </a:cubicBezTo>
                    <a:lnTo>
                      <a:pt x="617" y="244"/>
                    </a:lnTo>
                    <a:close/>
                    <a:moveTo>
                      <a:pt x="330" y="77"/>
                    </a:moveTo>
                    <a:cubicBezTo>
                      <a:pt x="378" y="48"/>
                      <a:pt x="378" y="48"/>
                      <a:pt x="378" y="48"/>
                    </a:cubicBezTo>
                    <a:cubicBezTo>
                      <a:pt x="427" y="77"/>
                      <a:pt x="427" y="77"/>
                      <a:pt x="427" y="77"/>
                    </a:cubicBezTo>
                    <a:cubicBezTo>
                      <a:pt x="427" y="133"/>
                      <a:pt x="427" y="133"/>
                      <a:pt x="427" y="133"/>
                    </a:cubicBezTo>
                    <a:cubicBezTo>
                      <a:pt x="378" y="161"/>
                      <a:pt x="378" y="161"/>
                      <a:pt x="378" y="161"/>
                    </a:cubicBezTo>
                    <a:cubicBezTo>
                      <a:pt x="330" y="133"/>
                      <a:pt x="330" y="133"/>
                      <a:pt x="330" y="133"/>
                    </a:cubicBezTo>
                    <a:lnTo>
                      <a:pt x="330" y="77"/>
                    </a:lnTo>
                    <a:close/>
                    <a:moveTo>
                      <a:pt x="141" y="300"/>
                    </a:moveTo>
                    <a:cubicBezTo>
                      <a:pt x="92" y="328"/>
                      <a:pt x="92" y="328"/>
                      <a:pt x="92" y="328"/>
                    </a:cubicBezTo>
                    <a:cubicBezTo>
                      <a:pt x="44" y="300"/>
                      <a:pt x="44" y="300"/>
                      <a:pt x="44" y="300"/>
                    </a:cubicBezTo>
                    <a:cubicBezTo>
                      <a:pt x="44" y="244"/>
                      <a:pt x="44" y="244"/>
                      <a:pt x="44" y="244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41" y="244"/>
                      <a:pt x="141" y="244"/>
                      <a:pt x="141" y="244"/>
                    </a:cubicBezTo>
                    <a:lnTo>
                      <a:pt x="141" y="300"/>
                    </a:lnTo>
                    <a:close/>
                    <a:moveTo>
                      <a:pt x="141" y="634"/>
                    </a:moveTo>
                    <a:cubicBezTo>
                      <a:pt x="92" y="662"/>
                      <a:pt x="92" y="662"/>
                      <a:pt x="92" y="662"/>
                    </a:cubicBezTo>
                    <a:cubicBezTo>
                      <a:pt x="44" y="634"/>
                      <a:pt x="44" y="634"/>
                      <a:pt x="44" y="634"/>
                    </a:cubicBezTo>
                    <a:cubicBezTo>
                      <a:pt x="44" y="578"/>
                      <a:pt x="44" y="578"/>
                      <a:pt x="44" y="578"/>
                    </a:cubicBezTo>
                    <a:cubicBezTo>
                      <a:pt x="92" y="550"/>
                      <a:pt x="92" y="550"/>
                      <a:pt x="92" y="550"/>
                    </a:cubicBezTo>
                    <a:cubicBezTo>
                      <a:pt x="141" y="578"/>
                      <a:pt x="141" y="578"/>
                      <a:pt x="141" y="578"/>
                    </a:cubicBezTo>
                    <a:lnTo>
                      <a:pt x="141" y="634"/>
                    </a:lnTo>
                    <a:close/>
                    <a:moveTo>
                      <a:pt x="262" y="397"/>
                    </a:moveTo>
                    <a:cubicBezTo>
                      <a:pt x="356" y="452"/>
                      <a:pt x="356" y="452"/>
                      <a:pt x="356" y="452"/>
                    </a:cubicBezTo>
                    <a:cubicBezTo>
                      <a:pt x="356" y="560"/>
                      <a:pt x="356" y="560"/>
                      <a:pt x="356" y="560"/>
                    </a:cubicBezTo>
                    <a:cubicBezTo>
                      <a:pt x="262" y="506"/>
                      <a:pt x="262" y="506"/>
                      <a:pt x="262" y="506"/>
                    </a:cubicBezTo>
                    <a:lnTo>
                      <a:pt x="262" y="397"/>
                    </a:lnTo>
                    <a:close/>
                    <a:moveTo>
                      <a:pt x="427" y="801"/>
                    </a:moveTo>
                    <a:cubicBezTo>
                      <a:pt x="378" y="830"/>
                      <a:pt x="378" y="830"/>
                      <a:pt x="378" y="830"/>
                    </a:cubicBezTo>
                    <a:cubicBezTo>
                      <a:pt x="330" y="801"/>
                      <a:pt x="330" y="801"/>
                      <a:pt x="330" y="801"/>
                    </a:cubicBezTo>
                    <a:cubicBezTo>
                      <a:pt x="330" y="745"/>
                      <a:pt x="330" y="745"/>
                      <a:pt x="330" y="745"/>
                    </a:cubicBezTo>
                    <a:cubicBezTo>
                      <a:pt x="378" y="717"/>
                      <a:pt x="378" y="717"/>
                      <a:pt x="378" y="717"/>
                    </a:cubicBezTo>
                    <a:cubicBezTo>
                      <a:pt x="427" y="745"/>
                      <a:pt x="427" y="745"/>
                      <a:pt x="427" y="745"/>
                    </a:cubicBezTo>
                    <a:lnTo>
                      <a:pt x="427" y="801"/>
                    </a:lnTo>
                    <a:close/>
                    <a:moveTo>
                      <a:pt x="400" y="560"/>
                    </a:moveTo>
                    <a:cubicBezTo>
                      <a:pt x="400" y="452"/>
                      <a:pt x="400" y="452"/>
                      <a:pt x="400" y="452"/>
                    </a:cubicBezTo>
                    <a:cubicBezTo>
                      <a:pt x="494" y="397"/>
                      <a:pt x="494" y="397"/>
                      <a:pt x="494" y="397"/>
                    </a:cubicBezTo>
                    <a:cubicBezTo>
                      <a:pt x="494" y="506"/>
                      <a:pt x="494" y="506"/>
                      <a:pt x="494" y="506"/>
                    </a:cubicBezTo>
                    <a:lnTo>
                      <a:pt x="400" y="560"/>
                    </a:lnTo>
                    <a:close/>
                    <a:moveTo>
                      <a:pt x="617" y="578"/>
                    </a:moveTo>
                    <a:cubicBezTo>
                      <a:pt x="666" y="550"/>
                      <a:pt x="666" y="550"/>
                      <a:pt x="666" y="550"/>
                    </a:cubicBezTo>
                    <a:cubicBezTo>
                      <a:pt x="714" y="578"/>
                      <a:pt x="714" y="578"/>
                      <a:pt x="714" y="578"/>
                    </a:cubicBezTo>
                    <a:cubicBezTo>
                      <a:pt x="714" y="634"/>
                      <a:pt x="714" y="634"/>
                      <a:pt x="714" y="634"/>
                    </a:cubicBezTo>
                    <a:cubicBezTo>
                      <a:pt x="666" y="662"/>
                      <a:pt x="666" y="662"/>
                      <a:pt x="666" y="662"/>
                    </a:cubicBezTo>
                    <a:cubicBezTo>
                      <a:pt x="617" y="634"/>
                      <a:pt x="617" y="634"/>
                      <a:pt x="617" y="634"/>
                    </a:cubicBezTo>
                    <a:lnTo>
                      <a:pt x="617" y="578"/>
                    </a:lnTo>
                    <a:close/>
                  </a:path>
                </a:pathLst>
              </a:custGeom>
              <a:solidFill>
                <a:srgbClr val="F05A28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" name="Group 8"/>
          <p:cNvGrpSpPr/>
          <p:nvPr/>
        </p:nvGrpSpPr>
        <p:grpSpPr>
          <a:xfrm>
            <a:off x="202667" y="5422044"/>
            <a:ext cx="1992614" cy="514591"/>
            <a:chOff x="333394" y="5088576"/>
            <a:chExt cx="2405479" cy="514591"/>
          </a:xfrm>
        </p:grpSpPr>
        <p:sp>
          <p:nvSpPr>
            <p:cNvPr id="241" name="object 31">
              <a:extLst>
                <a:ext uri="{FF2B5EF4-FFF2-40B4-BE49-F238E27FC236}">
                  <a16:creationId xmlns:a16="http://schemas.microsoft.com/office/drawing/2014/main" id="{FEB4FF5F-BB53-4DFA-B1DB-EFDF4B9AB405}"/>
                </a:ext>
              </a:extLst>
            </p:cNvPr>
            <p:cNvSpPr txBox="1"/>
            <p:nvPr/>
          </p:nvSpPr>
          <p:spPr>
            <a:xfrm>
              <a:off x="790631" y="5128998"/>
              <a:ext cx="1948242" cy="474169"/>
            </a:xfrm>
            <a:prstGeom prst="rect">
              <a:avLst/>
            </a:prstGeom>
          </p:spPr>
          <p:txBody>
            <a:bodyPr vert="horz" wrap="square" lIns="0" tIns="37465" rIns="0" bIns="0" rtlCol="0">
              <a:spAutoFit/>
            </a:bodyPr>
            <a:lstStyle/>
            <a:p>
              <a:pPr marL="12700" marR="5080" lvl="0" indent="0" algn="l" defTabSz="914400" rtl="0" eaLnBrk="1" fontAlgn="auto" latinLnBrk="0" hangingPunct="1">
                <a:lnSpc>
                  <a:spcPts val="1760"/>
                </a:lnSpc>
                <a:spcBef>
                  <a:spcPts val="2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F15A2B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~15 to 25% </a:t>
              </a:r>
              <a:r>
                <a:rPr kumimoji="0" lang="en-US" sz="1100" b="0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6D6E7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reduction in overall cost</a:t>
              </a: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endParaRPr>
            </a:p>
          </p:txBody>
        </p: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26E63E0F-77A1-4807-A553-A5102080344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3394" y="5088576"/>
              <a:ext cx="448057" cy="448057"/>
              <a:chOff x="5273675" y="2606675"/>
              <a:chExt cx="1644650" cy="1644650"/>
            </a:xfrm>
          </p:grpSpPr>
          <p:sp>
            <p:nvSpPr>
              <p:cNvPr id="262" name="AutoShape 3">
                <a:extLst>
                  <a:ext uri="{FF2B5EF4-FFF2-40B4-BE49-F238E27FC236}">
                    <a16:creationId xmlns:a16="http://schemas.microsoft.com/office/drawing/2014/main" id="{667F1D33-E3DD-46B6-B222-0CEE8DFECE0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3" name="Freeform 8">
                <a:extLst>
                  <a:ext uri="{FF2B5EF4-FFF2-40B4-BE49-F238E27FC236}">
                    <a16:creationId xmlns:a16="http://schemas.microsoft.com/office/drawing/2014/main" id="{04C61364-2667-4E64-A31E-70F316BD0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1799" y="2859088"/>
                <a:ext cx="1111250" cy="1139825"/>
              </a:xfrm>
              <a:custGeom>
                <a:avLst/>
                <a:gdLst>
                  <a:gd name="connsiteX0" fmla="*/ 131325 w 1111250"/>
                  <a:gd name="connsiteY0" fmla="*/ 673100 h 1139825"/>
                  <a:gd name="connsiteX1" fmla="*/ 31750 w 1111250"/>
                  <a:gd name="connsiteY1" fmla="*/ 772319 h 1139825"/>
                  <a:gd name="connsiteX2" fmla="*/ 131325 w 1111250"/>
                  <a:gd name="connsiteY2" fmla="*/ 871538 h 1139825"/>
                  <a:gd name="connsiteX3" fmla="*/ 216675 w 1111250"/>
                  <a:gd name="connsiteY3" fmla="*/ 821572 h 1139825"/>
                  <a:gd name="connsiteX4" fmla="*/ 229477 w 1111250"/>
                  <a:gd name="connsiteY4" fmla="*/ 783026 h 1139825"/>
                  <a:gd name="connsiteX5" fmla="*/ 230188 w 1111250"/>
                  <a:gd name="connsiteY5" fmla="*/ 772319 h 1139825"/>
                  <a:gd name="connsiteX6" fmla="*/ 190358 w 1111250"/>
                  <a:gd name="connsiteY6" fmla="*/ 693087 h 1139825"/>
                  <a:gd name="connsiteX7" fmla="*/ 156930 w 1111250"/>
                  <a:gd name="connsiteY7" fmla="*/ 675955 h 1139825"/>
                  <a:gd name="connsiteX8" fmla="*/ 131325 w 1111250"/>
                  <a:gd name="connsiteY8" fmla="*/ 673100 h 1139825"/>
                  <a:gd name="connsiteX9" fmla="*/ 1049338 w 1111250"/>
                  <a:gd name="connsiteY9" fmla="*/ 649287 h 1139825"/>
                  <a:gd name="connsiteX10" fmla="*/ 1049338 w 1111250"/>
                  <a:gd name="connsiteY10" fmla="*/ 932127 h 1139825"/>
                  <a:gd name="connsiteX11" fmla="*/ 1049338 w 1111250"/>
                  <a:gd name="connsiteY11" fmla="*/ 999265 h 1139825"/>
                  <a:gd name="connsiteX12" fmla="*/ 1046490 w 1111250"/>
                  <a:gd name="connsiteY12" fmla="*/ 1000694 h 1139825"/>
                  <a:gd name="connsiteX13" fmla="*/ 1030822 w 1111250"/>
                  <a:gd name="connsiteY13" fmla="*/ 998551 h 1139825"/>
                  <a:gd name="connsiteX14" fmla="*/ 980257 w 1111250"/>
                  <a:gd name="connsiteY14" fmla="*/ 1049976 h 1139825"/>
                  <a:gd name="connsiteX15" fmla="*/ 983106 w 1111250"/>
                  <a:gd name="connsiteY15" fmla="*/ 1067118 h 1139825"/>
                  <a:gd name="connsiteX16" fmla="*/ 980969 w 1111250"/>
                  <a:gd name="connsiteY16" fmla="*/ 1069975 h 1139825"/>
                  <a:gd name="connsiteX17" fmla="*/ 679720 w 1111250"/>
                  <a:gd name="connsiteY17" fmla="*/ 1069975 h 1139825"/>
                  <a:gd name="connsiteX18" fmla="*/ 677583 w 1111250"/>
                  <a:gd name="connsiteY18" fmla="*/ 1067118 h 1139825"/>
                  <a:gd name="connsiteX19" fmla="*/ 681144 w 1111250"/>
                  <a:gd name="connsiteY19" fmla="*/ 1049976 h 1139825"/>
                  <a:gd name="connsiteX20" fmla="*/ 629867 w 1111250"/>
                  <a:gd name="connsiteY20" fmla="*/ 998551 h 1139825"/>
                  <a:gd name="connsiteX21" fmla="*/ 614912 w 1111250"/>
                  <a:gd name="connsiteY21" fmla="*/ 1000694 h 1139825"/>
                  <a:gd name="connsiteX22" fmla="*/ 612775 w 1111250"/>
                  <a:gd name="connsiteY22" fmla="*/ 998551 h 1139825"/>
                  <a:gd name="connsiteX23" fmla="*/ 612775 w 1111250"/>
                  <a:gd name="connsiteY23" fmla="*/ 932127 h 1139825"/>
                  <a:gd name="connsiteX24" fmla="*/ 612775 w 1111250"/>
                  <a:gd name="connsiteY24" fmla="*/ 832133 h 1139825"/>
                  <a:gd name="connsiteX25" fmla="*/ 733845 w 1111250"/>
                  <a:gd name="connsiteY25" fmla="*/ 897129 h 1139825"/>
                  <a:gd name="connsiteX26" fmla="*/ 807199 w 1111250"/>
                  <a:gd name="connsiteY26" fmla="*/ 916413 h 1139825"/>
                  <a:gd name="connsiteX27" fmla="*/ 905479 w 1111250"/>
                  <a:gd name="connsiteY27" fmla="*/ 872130 h 1139825"/>
                  <a:gd name="connsiteX28" fmla="*/ 937527 w 1111250"/>
                  <a:gd name="connsiteY28" fmla="*/ 833561 h 1139825"/>
                  <a:gd name="connsiteX29" fmla="*/ 943224 w 1111250"/>
                  <a:gd name="connsiteY29" fmla="*/ 822133 h 1139825"/>
                  <a:gd name="connsiteX30" fmla="*/ 932542 w 1111250"/>
                  <a:gd name="connsiteY30" fmla="*/ 799992 h 1139825"/>
                  <a:gd name="connsiteX31" fmla="*/ 825003 w 1111250"/>
                  <a:gd name="connsiteY31" fmla="*/ 736425 h 1139825"/>
                  <a:gd name="connsiteX32" fmla="*/ 830701 w 1111250"/>
                  <a:gd name="connsiteY32" fmla="*/ 736425 h 1139825"/>
                  <a:gd name="connsiteX33" fmla="*/ 1049338 w 1111250"/>
                  <a:gd name="connsiteY33" fmla="*/ 649287 h 1139825"/>
                  <a:gd name="connsiteX34" fmla="*/ 498232 w 1111250"/>
                  <a:gd name="connsiteY34" fmla="*/ 604837 h 1139825"/>
                  <a:gd name="connsiteX35" fmla="*/ 548910 w 1111250"/>
                  <a:gd name="connsiteY35" fmla="*/ 634832 h 1139825"/>
                  <a:gd name="connsiteX36" fmla="*/ 580316 w 1111250"/>
                  <a:gd name="connsiteY36" fmla="*/ 653400 h 1139825"/>
                  <a:gd name="connsiteX37" fmla="*/ 611723 w 1111250"/>
                  <a:gd name="connsiteY37" fmla="*/ 671254 h 1139825"/>
                  <a:gd name="connsiteX38" fmla="*/ 863687 w 1111250"/>
                  <a:gd name="connsiteY38" fmla="*/ 818371 h 1139825"/>
                  <a:gd name="connsiteX39" fmla="*/ 870824 w 1111250"/>
                  <a:gd name="connsiteY39" fmla="*/ 828369 h 1139825"/>
                  <a:gd name="connsiteX40" fmla="*/ 867256 w 1111250"/>
                  <a:gd name="connsiteY40" fmla="*/ 841224 h 1139825"/>
                  <a:gd name="connsiteX41" fmla="*/ 806584 w 1111250"/>
                  <a:gd name="connsiteY41" fmla="*/ 868362 h 1139825"/>
                  <a:gd name="connsiteX42" fmla="*/ 756620 w 1111250"/>
                  <a:gd name="connsiteY42" fmla="*/ 854079 h 1139825"/>
                  <a:gd name="connsiteX43" fmla="*/ 611723 w 1111250"/>
                  <a:gd name="connsiteY43" fmla="*/ 777664 h 1139825"/>
                  <a:gd name="connsiteX44" fmla="*/ 580316 w 1111250"/>
                  <a:gd name="connsiteY44" fmla="*/ 761238 h 1139825"/>
                  <a:gd name="connsiteX45" fmla="*/ 548910 w 1111250"/>
                  <a:gd name="connsiteY45" fmla="*/ 744812 h 1139825"/>
                  <a:gd name="connsiteX46" fmla="*/ 396875 w 1111250"/>
                  <a:gd name="connsiteY46" fmla="*/ 664827 h 1139825"/>
                  <a:gd name="connsiteX47" fmla="*/ 413292 w 1111250"/>
                  <a:gd name="connsiteY47" fmla="*/ 654828 h 1139825"/>
                  <a:gd name="connsiteX48" fmla="*/ 428995 w 1111250"/>
                  <a:gd name="connsiteY48" fmla="*/ 645544 h 1139825"/>
                  <a:gd name="connsiteX49" fmla="*/ 466826 w 1111250"/>
                  <a:gd name="connsiteY49" fmla="*/ 623405 h 1139825"/>
                  <a:gd name="connsiteX50" fmla="*/ 482529 w 1111250"/>
                  <a:gd name="connsiteY50" fmla="*/ 614121 h 1139825"/>
                  <a:gd name="connsiteX51" fmla="*/ 498232 w 1111250"/>
                  <a:gd name="connsiteY51" fmla="*/ 604837 h 1139825"/>
                  <a:gd name="connsiteX52" fmla="*/ 130969 w 1111250"/>
                  <a:gd name="connsiteY52" fmla="*/ 279400 h 1139825"/>
                  <a:gd name="connsiteX53" fmla="*/ 31750 w 1111250"/>
                  <a:gd name="connsiteY53" fmla="*/ 377905 h 1139825"/>
                  <a:gd name="connsiteX54" fmla="*/ 130969 w 1111250"/>
                  <a:gd name="connsiteY54" fmla="*/ 477838 h 1139825"/>
                  <a:gd name="connsiteX55" fmla="*/ 156666 w 1111250"/>
                  <a:gd name="connsiteY55" fmla="*/ 474269 h 1139825"/>
                  <a:gd name="connsiteX56" fmla="*/ 190215 w 1111250"/>
                  <a:gd name="connsiteY56" fmla="*/ 457852 h 1139825"/>
                  <a:gd name="connsiteX57" fmla="*/ 230188 w 1111250"/>
                  <a:gd name="connsiteY57" fmla="*/ 377905 h 1139825"/>
                  <a:gd name="connsiteX58" fmla="*/ 229474 w 1111250"/>
                  <a:gd name="connsiteY58" fmla="*/ 367912 h 1139825"/>
                  <a:gd name="connsiteX59" fmla="*/ 216626 w 1111250"/>
                  <a:gd name="connsiteY59" fmla="*/ 328653 h 1139825"/>
                  <a:gd name="connsiteX60" fmla="*/ 130969 w 1111250"/>
                  <a:gd name="connsiteY60" fmla="*/ 279400 h 1139825"/>
                  <a:gd name="connsiteX61" fmla="*/ 130765 w 1111250"/>
                  <a:gd name="connsiteY61" fmla="*/ 247650 h 1139825"/>
                  <a:gd name="connsiteX62" fmla="*/ 246523 w 1111250"/>
                  <a:gd name="connsiteY62" fmla="*/ 317602 h 1139825"/>
                  <a:gd name="connsiteX63" fmla="*/ 255098 w 1111250"/>
                  <a:gd name="connsiteY63" fmla="*/ 336874 h 1139825"/>
                  <a:gd name="connsiteX64" fmla="*/ 307975 w 1111250"/>
                  <a:gd name="connsiteY64" fmla="*/ 478205 h 1139825"/>
                  <a:gd name="connsiteX65" fmla="*/ 293684 w 1111250"/>
                  <a:gd name="connsiteY65" fmla="*/ 486056 h 1139825"/>
                  <a:gd name="connsiteX66" fmla="*/ 280107 w 1111250"/>
                  <a:gd name="connsiteY66" fmla="*/ 493194 h 1139825"/>
                  <a:gd name="connsiteX67" fmla="*/ 232947 w 1111250"/>
                  <a:gd name="connsiteY67" fmla="*/ 517463 h 1139825"/>
                  <a:gd name="connsiteX68" fmla="*/ 232232 w 1111250"/>
                  <a:gd name="connsiteY68" fmla="*/ 517463 h 1139825"/>
                  <a:gd name="connsiteX69" fmla="*/ 225801 w 1111250"/>
                  <a:gd name="connsiteY69" fmla="*/ 521032 h 1139825"/>
                  <a:gd name="connsiteX70" fmla="*/ 219370 w 1111250"/>
                  <a:gd name="connsiteY70" fmla="*/ 526029 h 1139825"/>
                  <a:gd name="connsiteX71" fmla="*/ 208652 w 1111250"/>
                  <a:gd name="connsiteY71" fmla="*/ 538163 h 1139825"/>
                  <a:gd name="connsiteX72" fmla="*/ 175067 w 1111250"/>
                  <a:gd name="connsiteY72" fmla="*/ 501046 h 1139825"/>
                  <a:gd name="connsiteX73" fmla="*/ 130765 w 1111250"/>
                  <a:gd name="connsiteY73" fmla="*/ 508184 h 1139825"/>
                  <a:gd name="connsiteX74" fmla="*/ 125763 w 1111250"/>
                  <a:gd name="connsiteY74" fmla="*/ 507470 h 1139825"/>
                  <a:gd name="connsiteX75" fmla="*/ 0 w 1111250"/>
                  <a:gd name="connsiteY75" fmla="*/ 377560 h 1139825"/>
                  <a:gd name="connsiteX76" fmla="*/ 130765 w 1111250"/>
                  <a:gd name="connsiteY76" fmla="*/ 247650 h 1139825"/>
                  <a:gd name="connsiteX77" fmla="*/ 680432 w 1111250"/>
                  <a:gd name="connsiteY77" fmla="*/ 69850 h 1139825"/>
                  <a:gd name="connsiteX78" fmla="*/ 980257 w 1111250"/>
                  <a:gd name="connsiteY78" fmla="*/ 69850 h 1139825"/>
                  <a:gd name="connsiteX79" fmla="*/ 982394 w 1111250"/>
                  <a:gd name="connsiteY79" fmla="*/ 73421 h 1139825"/>
                  <a:gd name="connsiteX80" fmla="*/ 980257 w 1111250"/>
                  <a:gd name="connsiteY80" fmla="*/ 89135 h 1139825"/>
                  <a:gd name="connsiteX81" fmla="*/ 1030822 w 1111250"/>
                  <a:gd name="connsiteY81" fmla="*/ 140560 h 1139825"/>
                  <a:gd name="connsiteX82" fmla="*/ 1046490 w 1111250"/>
                  <a:gd name="connsiteY82" fmla="*/ 138417 h 1139825"/>
                  <a:gd name="connsiteX83" fmla="*/ 1047914 w 1111250"/>
                  <a:gd name="connsiteY83" fmla="*/ 138417 h 1139825"/>
                  <a:gd name="connsiteX84" fmla="*/ 1048626 w 1111250"/>
                  <a:gd name="connsiteY84" fmla="*/ 138417 h 1139825"/>
                  <a:gd name="connsiteX85" fmla="*/ 1049338 w 1111250"/>
                  <a:gd name="connsiteY85" fmla="*/ 139132 h 1139825"/>
                  <a:gd name="connsiteX86" fmla="*/ 1049338 w 1111250"/>
                  <a:gd name="connsiteY86" fmla="*/ 139846 h 1139825"/>
                  <a:gd name="connsiteX87" fmla="*/ 1049338 w 1111250"/>
                  <a:gd name="connsiteY87" fmla="*/ 395544 h 1139825"/>
                  <a:gd name="connsiteX88" fmla="*/ 1049338 w 1111250"/>
                  <a:gd name="connsiteY88" fmla="*/ 490538 h 1139825"/>
                  <a:gd name="connsiteX89" fmla="*/ 842095 w 1111250"/>
                  <a:gd name="connsiteY89" fmla="*/ 403401 h 1139825"/>
                  <a:gd name="connsiteX90" fmla="*/ 830701 w 1111250"/>
                  <a:gd name="connsiteY90" fmla="*/ 403401 h 1139825"/>
                  <a:gd name="connsiteX91" fmla="*/ 708919 w 1111250"/>
                  <a:gd name="connsiteY91" fmla="*/ 424828 h 1139825"/>
                  <a:gd name="connsiteX92" fmla="*/ 632004 w 1111250"/>
                  <a:gd name="connsiteY92" fmla="*/ 469825 h 1139825"/>
                  <a:gd name="connsiteX93" fmla="*/ 612775 w 1111250"/>
                  <a:gd name="connsiteY93" fmla="*/ 490538 h 1139825"/>
                  <a:gd name="connsiteX94" fmla="*/ 612775 w 1111250"/>
                  <a:gd name="connsiteY94" fmla="*/ 481253 h 1139825"/>
                  <a:gd name="connsiteX95" fmla="*/ 612775 w 1111250"/>
                  <a:gd name="connsiteY95" fmla="*/ 463397 h 1139825"/>
                  <a:gd name="connsiteX96" fmla="*/ 612775 w 1111250"/>
                  <a:gd name="connsiteY96" fmla="*/ 444827 h 1139825"/>
                  <a:gd name="connsiteX97" fmla="*/ 612775 w 1111250"/>
                  <a:gd name="connsiteY97" fmla="*/ 409829 h 1139825"/>
                  <a:gd name="connsiteX98" fmla="*/ 612775 w 1111250"/>
                  <a:gd name="connsiteY98" fmla="*/ 395544 h 1139825"/>
                  <a:gd name="connsiteX99" fmla="*/ 612775 w 1111250"/>
                  <a:gd name="connsiteY99" fmla="*/ 391973 h 1139825"/>
                  <a:gd name="connsiteX100" fmla="*/ 612775 w 1111250"/>
                  <a:gd name="connsiteY100" fmla="*/ 374117 h 1139825"/>
                  <a:gd name="connsiteX101" fmla="*/ 612775 w 1111250"/>
                  <a:gd name="connsiteY101" fmla="*/ 319120 h 1139825"/>
                  <a:gd name="connsiteX102" fmla="*/ 612775 w 1111250"/>
                  <a:gd name="connsiteY102" fmla="*/ 140560 h 1139825"/>
                  <a:gd name="connsiteX103" fmla="*/ 614912 w 1111250"/>
                  <a:gd name="connsiteY103" fmla="*/ 138417 h 1139825"/>
                  <a:gd name="connsiteX104" fmla="*/ 629867 w 1111250"/>
                  <a:gd name="connsiteY104" fmla="*/ 140560 h 1139825"/>
                  <a:gd name="connsiteX105" fmla="*/ 681144 w 1111250"/>
                  <a:gd name="connsiteY105" fmla="*/ 89135 h 1139825"/>
                  <a:gd name="connsiteX106" fmla="*/ 678295 w 1111250"/>
                  <a:gd name="connsiteY106" fmla="*/ 73421 h 1139825"/>
                  <a:gd name="connsiteX107" fmla="*/ 680432 w 1111250"/>
                  <a:gd name="connsiteY107" fmla="*/ 69850 h 1139825"/>
                  <a:gd name="connsiteX108" fmla="*/ 564547 w 1111250"/>
                  <a:gd name="connsiteY108" fmla="*/ 0 h 1139825"/>
                  <a:gd name="connsiteX109" fmla="*/ 1095549 w 1111250"/>
                  <a:gd name="connsiteY109" fmla="*/ 0 h 1139825"/>
                  <a:gd name="connsiteX110" fmla="*/ 1111250 w 1111250"/>
                  <a:gd name="connsiteY110" fmla="*/ 15692 h 1139825"/>
                  <a:gd name="connsiteX111" fmla="*/ 1111250 w 1111250"/>
                  <a:gd name="connsiteY111" fmla="*/ 1124133 h 1139825"/>
                  <a:gd name="connsiteX112" fmla="*/ 1095549 w 1111250"/>
                  <a:gd name="connsiteY112" fmla="*/ 1139825 h 1139825"/>
                  <a:gd name="connsiteX113" fmla="*/ 564547 w 1111250"/>
                  <a:gd name="connsiteY113" fmla="*/ 1139825 h 1139825"/>
                  <a:gd name="connsiteX114" fmla="*/ 548845 w 1111250"/>
                  <a:gd name="connsiteY114" fmla="*/ 1124133 h 1139825"/>
                  <a:gd name="connsiteX115" fmla="*/ 548845 w 1111250"/>
                  <a:gd name="connsiteY115" fmla="*/ 798876 h 1139825"/>
                  <a:gd name="connsiteX116" fmla="*/ 580248 w 1111250"/>
                  <a:gd name="connsiteY116" fmla="*/ 815995 h 1139825"/>
                  <a:gd name="connsiteX117" fmla="*/ 580248 w 1111250"/>
                  <a:gd name="connsiteY117" fmla="*/ 1108441 h 1139825"/>
                  <a:gd name="connsiteX118" fmla="*/ 1079847 w 1111250"/>
                  <a:gd name="connsiteY118" fmla="*/ 1108441 h 1139825"/>
                  <a:gd name="connsiteX119" fmla="*/ 1079847 w 1111250"/>
                  <a:gd name="connsiteY119" fmla="*/ 538528 h 1139825"/>
                  <a:gd name="connsiteX120" fmla="*/ 1080561 w 1111250"/>
                  <a:gd name="connsiteY120" fmla="*/ 538528 h 1139825"/>
                  <a:gd name="connsiteX121" fmla="*/ 1080561 w 1111250"/>
                  <a:gd name="connsiteY121" fmla="*/ 507144 h 1139825"/>
                  <a:gd name="connsiteX122" fmla="*/ 1080561 w 1111250"/>
                  <a:gd name="connsiteY122" fmla="*/ 394445 h 1139825"/>
                  <a:gd name="connsiteX123" fmla="*/ 1080561 w 1111250"/>
                  <a:gd name="connsiteY123" fmla="*/ 139803 h 1139825"/>
                  <a:gd name="connsiteX124" fmla="*/ 1079847 w 1111250"/>
                  <a:gd name="connsiteY124" fmla="*/ 134810 h 1139825"/>
                  <a:gd name="connsiteX125" fmla="*/ 1079847 w 1111250"/>
                  <a:gd name="connsiteY125" fmla="*/ 31385 h 1139825"/>
                  <a:gd name="connsiteX126" fmla="*/ 580248 w 1111250"/>
                  <a:gd name="connsiteY126" fmla="*/ 31385 h 1139825"/>
                  <a:gd name="connsiteX127" fmla="*/ 580248 w 1111250"/>
                  <a:gd name="connsiteY127" fmla="*/ 135524 h 1139825"/>
                  <a:gd name="connsiteX128" fmla="*/ 580248 w 1111250"/>
                  <a:gd name="connsiteY128" fmla="*/ 334530 h 1139825"/>
                  <a:gd name="connsiteX129" fmla="*/ 580248 w 1111250"/>
                  <a:gd name="connsiteY129" fmla="*/ 389452 h 1139825"/>
                  <a:gd name="connsiteX130" fmla="*/ 580248 w 1111250"/>
                  <a:gd name="connsiteY130" fmla="*/ 407284 h 1139825"/>
                  <a:gd name="connsiteX131" fmla="*/ 580248 w 1111250"/>
                  <a:gd name="connsiteY131" fmla="*/ 425116 h 1139825"/>
                  <a:gd name="connsiteX132" fmla="*/ 580248 w 1111250"/>
                  <a:gd name="connsiteY132" fmla="*/ 462207 h 1139825"/>
                  <a:gd name="connsiteX133" fmla="*/ 580248 w 1111250"/>
                  <a:gd name="connsiteY133" fmla="*/ 480039 h 1139825"/>
                  <a:gd name="connsiteX134" fmla="*/ 580248 w 1111250"/>
                  <a:gd name="connsiteY134" fmla="*/ 498584 h 1139825"/>
                  <a:gd name="connsiteX135" fmla="*/ 580248 w 1111250"/>
                  <a:gd name="connsiteY135" fmla="*/ 538528 h 1139825"/>
                  <a:gd name="connsiteX136" fmla="*/ 580248 w 1111250"/>
                  <a:gd name="connsiteY136" fmla="*/ 554934 h 1139825"/>
                  <a:gd name="connsiteX137" fmla="*/ 580248 w 1111250"/>
                  <a:gd name="connsiteY137" fmla="*/ 575619 h 1139825"/>
                  <a:gd name="connsiteX138" fmla="*/ 580248 w 1111250"/>
                  <a:gd name="connsiteY138" fmla="*/ 594878 h 1139825"/>
                  <a:gd name="connsiteX139" fmla="*/ 548845 w 1111250"/>
                  <a:gd name="connsiteY139" fmla="*/ 576332 h 1139825"/>
                  <a:gd name="connsiteX140" fmla="*/ 548845 w 1111250"/>
                  <a:gd name="connsiteY140" fmla="*/ 575619 h 1139825"/>
                  <a:gd name="connsiteX141" fmla="*/ 548845 w 1111250"/>
                  <a:gd name="connsiteY141" fmla="*/ 573479 h 1139825"/>
                  <a:gd name="connsiteX142" fmla="*/ 548845 w 1111250"/>
                  <a:gd name="connsiteY142" fmla="*/ 517130 h 1139825"/>
                  <a:gd name="connsiteX143" fmla="*/ 498171 w 1111250"/>
                  <a:gd name="connsiteY143" fmla="*/ 546374 h 1139825"/>
                  <a:gd name="connsiteX144" fmla="*/ 449639 w 1111250"/>
                  <a:gd name="connsiteY144" fmla="*/ 574906 h 1139825"/>
                  <a:gd name="connsiteX145" fmla="*/ 433937 w 1111250"/>
                  <a:gd name="connsiteY145" fmla="*/ 584178 h 1139825"/>
                  <a:gd name="connsiteX146" fmla="*/ 418236 w 1111250"/>
                  <a:gd name="connsiteY146" fmla="*/ 593451 h 1139825"/>
                  <a:gd name="connsiteX147" fmla="*/ 377554 w 1111250"/>
                  <a:gd name="connsiteY147" fmla="*/ 617703 h 1139825"/>
                  <a:gd name="connsiteX148" fmla="*/ 361139 w 1111250"/>
                  <a:gd name="connsiteY148" fmla="*/ 626975 h 1139825"/>
                  <a:gd name="connsiteX149" fmla="*/ 345437 w 1111250"/>
                  <a:gd name="connsiteY149" fmla="*/ 636248 h 1139825"/>
                  <a:gd name="connsiteX150" fmla="*/ 315461 w 1111250"/>
                  <a:gd name="connsiteY150" fmla="*/ 654080 h 1139825"/>
                  <a:gd name="connsiteX151" fmla="*/ 308324 w 1111250"/>
                  <a:gd name="connsiteY151" fmla="*/ 671912 h 1139825"/>
                  <a:gd name="connsiteX152" fmla="*/ 255509 w 1111250"/>
                  <a:gd name="connsiteY152" fmla="*/ 813142 h 1139825"/>
                  <a:gd name="connsiteX153" fmla="*/ 246945 w 1111250"/>
                  <a:gd name="connsiteY153" fmla="*/ 833114 h 1139825"/>
                  <a:gd name="connsiteX154" fmla="*/ 131323 w 1111250"/>
                  <a:gd name="connsiteY154" fmla="*/ 903015 h 1139825"/>
                  <a:gd name="connsiteX155" fmla="*/ 0 w 1111250"/>
                  <a:gd name="connsiteY155" fmla="*/ 772485 h 1139825"/>
                  <a:gd name="connsiteX156" fmla="*/ 126327 w 1111250"/>
                  <a:gd name="connsiteY156" fmla="*/ 641954 h 1139825"/>
                  <a:gd name="connsiteX157" fmla="*/ 131323 w 1111250"/>
                  <a:gd name="connsiteY157" fmla="*/ 641954 h 1139825"/>
                  <a:gd name="connsiteX158" fmla="*/ 175573 w 1111250"/>
                  <a:gd name="connsiteY158" fmla="*/ 649800 h 1139825"/>
                  <a:gd name="connsiteX159" fmla="*/ 209118 w 1111250"/>
                  <a:gd name="connsiteY159" fmla="*/ 611996 h 1139825"/>
                  <a:gd name="connsiteX160" fmla="*/ 241949 w 1111250"/>
                  <a:gd name="connsiteY160" fmla="*/ 574906 h 1139825"/>
                  <a:gd name="connsiteX161" fmla="*/ 251227 w 1111250"/>
                  <a:gd name="connsiteY161" fmla="*/ 564920 h 1139825"/>
                  <a:gd name="connsiteX162" fmla="*/ 252654 w 1111250"/>
                  <a:gd name="connsiteY162" fmla="*/ 563493 h 1139825"/>
                  <a:gd name="connsiteX163" fmla="*/ 255509 w 1111250"/>
                  <a:gd name="connsiteY163" fmla="*/ 561353 h 1139825"/>
                  <a:gd name="connsiteX164" fmla="*/ 266929 w 1111250"/>
                  <a:gd name="connsiteY164" fmla="*/ 555647 h 1139825"/>
                  <a:gd name="connsiteX165" fmla="*/ 312606 w 1111250"/>
                  <a:gd name="connsiteY165" fmla="*/ 531395 h 1139825"/>
                  <a:gd name="connsiteX166" fmla="*/ 329022 w 1111250"/>
                  <a:gd name="connsiteY166" fmla="*/ 522836 h 1139825"/>
                  <a:gd name="connsiteX167" fmla="*/ 345437 w 1111250"/>
                  <a:gd name="connsiteY167" fmla="*/ 514277 h 1139825"/>
                  <a:gd name="connsiteX168" fmla="*/ 396111 w 1111250"/>
                  <a:gd name="connsiteY168" fmla="*/ 487172 h 1139825"/>
                  <a:gd name="connsiteX169" fmla="*/ 548845 w 1111250"/>
                  <a:gd name="connsiteY169" fmla="*/ 406571 h 1139825"/>
                  <a:gd name="connsiteX170" fmla="*/ 548845 w 1111250"/>
                  <a:gd name="connsiteY170" fmla="*/ 350935 h 1139825"/>
                  <a:gd name="connsiteX171" fmla="*/ 548845 w 1111250"/>
                  <a:gd name="connsiteY171" fmla="*/ 15692 h 1139825"/>
                  <a:gd name="connsiteX172" fmla="*/ 564547 w 1111250"/>
                  <a:gd name="connsiteY172" fmla="*/ 0 h 1139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111250" h="1139825">
                    <a:moveTo>
                      <a:pt x="131325" y="673100"/>
                    </a:moveTo>
                    <a:cubicBezTo>
                      <a:pt x="76559" y="673100"/>
                      <a:pt x="31750" y="717356"/>
                      <a:pt x="31750" y="772319"/>
                    </a:cubicBezTo>
                    <a:cubicBezTo>
                      <a:pt x="31750" y="827282"/>
                      <a:pt x="76559" y="871538"/>
                      <a:pt x="131325" y="871538"/>
                    </a:cubicBezTo>
                    <a:cubicBezTo>
                      <a:pt x="167598" y="871538"/>
                      <a:pt x="199605" y="851552"/>
                      <a:pt x="216675" y="821572"/>
                    </a:cubicBezTo>
                    <a:cubicBezTo>
                      <a:pt x="223787" y="810151"/>
                      <a:pt x="228055" y="796589"/>
                      <a:pt x="229477" y="783026"/>
                    </a:cubicBezTo>
                    <a:cubicBezTo>
                      <a:pt x="230188" y="779457"/>
                      <a:pt x="230188" y="775888"/>
                      <a:pt x="230188" y="772319"/>
                    </a:cubicBezTo>
                    <a:cubicBezTo>
                      <a:pt x="230188" y="740198"/>
                      <a:pt x="214541" y="710932"/>
                      <a:pt x="190358" y="693087"/>
                    </a:cubicBezTo>
                    <a:cubicBezTo>
                      <a:pt x="180401" y="685235"/>
                      <a:pt x="169021" y="679524"/>
                      <a:pt x="156930" y="675955"/>
                    </a:cubicBezTo>
                    <a:cubicBezTo>
                      <a:pt x="148395" y="673814"/>
                      <a:pt x="139860" y="673100"/>
                      <a:pt x="131325" y="673100"/>
                    </a:cubicBezTo>
                    <a:close/>
                    <a:moveTo>
                      <a:pt x="1049338" y="649287"/>
                    </a:moveTo>
                    <a:cubicBezTo>
                      <a:pt x="1049338" y="649287"/>
                      <a:pt x="1049338" y="649287"/>
                      <a:pt x="1049338" y="932127"/>
                    </a:cubicBezTo>
                    <a:cubicBezTo>
                      <a:pt x="1049338" y="952840"/>
                      <a:pt x="1049338" y="974981"/>
                      <a:pt x="1049338" y="999265"/>
                    </a:cubicBezTo>
                    <a:cubicBezTo>
                      <a:pt x="1049338" y="1000694"/>
                      <a:pt x="1048626" y="1001408"/>
                      <a:pt x="1046490" y="1000694"/>
                    </a:cubicBezTo>
                    <a:cubicBezTo>
                      <a:pt x="1041504" y="999265"/>
                      <a:pt x="1036519" y="998551"/>
                      <a:pt x="1030822" y="998551"/>
                    </a:cubicBezTo>
                    <a:cubicBezTo>
                      <a:pt x="1002335" y="998551"/>
                      <a:pt x="980257" y="1021407"/>
                      <a:pt x="980257" y="1049976"/>
                    </a:cubicBezTo>
                    <a:cubicBezTo>
                      <a:pt x="980257" y="1055690"/>
                      <a:pt x="980969" y="1062118"/>
                      <a:pt x="983106" y="1067118"/>
                    </a:cubicBezTo>
                    <a:cubicBezTo>
                      <a:pt x="983818" y="1068547"/>
                      <a:pt x="982394" y="1069975"/>
                      <a:pt x="980969" y="1069975"/>
                    </a:cubicBezTo>
                    <a:cubicBezTo>
                      <a:pt x="980969" y="1069975"/>
                      <a:pt x="980969" y="1069975"/>
                      <a:pt x="679720" y="1069975"/>
                    </a:cubicBezTo>
                    <a:cubicBezTo>
                      <a:pt x="678295" y="1069975"/>
                      <a:pt x="676871" y="1068547"/>
                      <a:pt x="677583" y="1067118"/>
                    </a:cubicBezTo>
                    <a:cubicBezTo>
                      <a:pt x="679720" y="1062118"/>
                      <a:pt x="681144" y="1055690"/>
                      <a:pt x="681144" y="1049976"/>
                    </a:cubicBezTo>
                    <a:cubicBezTo>
                      <a:pt x="681144" y="1021407"/>
                      <a:pt x="658354" y="998551"/>
                      <a:pt x="629867" y="998551"/>
                    </a:cubicBezTo>
                    <a:cubicBezTo>
                      <a:pt x="624882" y="998551"/>
                      <a:pt x="619897" y="999265"/>
                      <a:pt x="614912" y="1000694"/>
                    </a:cubicBezTo>
                    <a:cubicBezTo>
                      <a:pt x="614200" y="1000694"/>
                      <a:pt x="612775" y="999980"/>
                      <a:pt x="612775" y="998551"/>
                    </a:cubicBezTo>
                    <a:cubicBezTo>
                      <a:pt x="612775" y="998551"/>
                      <a:pt x="612775" y="998551"/>
                      <a:pt x="612775" y="932127"/>
                    </a:cubicBezTo>
                    <a:cubicBezTo>
                      <a:pt x="612775" y="932127"/>
                      <a:pt x="612775" y="932127"/>
                      <a:pt x="612775" y="832133"/>
                    </a:cubicBezTo>
                    <a:cubicBezTo>
                      <a:pt x="671174" y="863559"/>
                      <a:pt x="718177" y="887844"/>
                      <a:pt x="733845" y="897129"/>
                    </a:cubicBezTo>
                    <a:cubicBezTo>
                      <a:pt x="758059" y="909985"/>
                      <a:pt x="782273" y="916413"/>
                      <a:pt x="807199" y="916413"/>
                    </a:cubicBezTo>
                    <a:cubicBezTo>
                      <a:pt x="852066" y="916413"/>
                      <a:pt x="887675" y="893558"/>
                      <a:pt x="905479" y="872130"/>
                    </a:cubicBezTo>
                    <a:cubicBezTo>
                      <a:pt x="905479" y="872130"/>
                      <a:pt x="905479" y="872130"/>
                      <a:pt x="937527" y="833561"/>
                    </a:cubicBezTo>
                    <a:cubicBezTo>
                      <a:pt x="940376" y="830704"/>
                      <a:pt x="942512" y="827133"/>
                      <a:pt x="943224" y="822133"/>
                    </a:cubicBezTo>
                    <a:cubicBezTo>
                      <a:pt x="944649" y="812848"/>
                      <a:pt x="940376" y="804277"/>
                      <a:pt x="932542" y="799992"/>
                    </a:cubicBezTo>
                    <a:cubicBezTo>
                      <a:pt x="932542" y="799992"/>
                      <a:pt x="932542" y="799992"/>
                      <a:pt x="825003" y="736425"/>
                    </a:cubicBezTo>
                    <a:cubicBezTo>
                      <a:pt x="827140" y="736425"/>
                      <a:pt x="828564" y="736425"/>
                      <a:pt x="830701" y="736425"/>
                    </a:cubicBezTo>
                    <a:cubicBezTo>
                      <a:pt x="925420" y="736425"/>
                      <a:pt x="1007320" y="701427"/>
                      <a:pt x="1049338" y="649287"/>
                    </a:cubicBezTo>
                    <a:close/>
                    <a:moveTo>
                      <a:pt x="498232" y="604837"/>
                    </a:moveTo>
                    <a:cubicBezTo>
                      <a:pt x="498232" y="604837"/>
                      <a:pt x="498232" y="604837"/>
                      <a:pt x="548910" y="634832"/>
                    </a:cubicBezTo>
                    <a:cubicBezTo>
                      <a:pt x="548910" y="634832"/>
                      <a:pt x="548910" y="634832"/>
                      <a:pt x="580316" y="653400"/>
                    </a:cubicBezTo>
                    <a:cubicBezTo>
                      <a:pt x="580316" y="653400"/>
                      <a:pt x="580316" y="653400"/>
                      <a:pt x="611723" y="671254"/>
                    </a:cubicBezTo>
                    <a:cubicBezTo>
                      <a:pt x="611723" y="671254"/>
                      <a:pt x="611723" y="671254"/>
                      <a:pt x="863687" y="818371"/>
                    </a:cubicBezTo>
                    <a:cubicBezTo>
                      <a:pt x="867256" y="819799"/>
                      <a:pt x="870111" y="824084"/>
                      <a:pt x="870824" y="828369"/>
                    </a:cubicBezTo>
                    <a:cubicBezTo>
                      <a:pt x="871538" y="833368"/>
                      <a:pt x="870824" y="837653"/>
                      <a:pt x="867256" y="841224"/>
                    </a:cubicBezTo>
                    <a:cubicBezTo>
                      <a:pt x="857976" y="853365"/>
                      <a:pt x="835849" y="868362"/>
                      <a:pt x="806584" y="868362"/>
                    </a:cubicBezTo>
                    <a:cubicBezTo>
                      <a:pt x="791595" y="868362"/>
                      <a:pt x="774464" y="864077"/>
                      <a:pt x="756620" y="854079"/>
                    </a:cubicBezTo>
                    <a:cubicBezTo>
                      <a:pt x="738062" y="844081"/>
                      <a:pt x="680959" y="814800"/>
                      <a:pt x="611723" y="777664"/>
                    </a:cubicBezTo>
                    <a:cubicBezTo>
                      <a:pt x="601016" y="772665"/>
                      <a:pt x="591023" y="766951"/>
                      <a:pt x="580316" y="761238"/>
                    </a:cubicBezTo>
                    <a:cubicBezTo>
                      <a:pt x="570324" y="755525"/>
                      <a:pt x="559617" y="750526"/>
                      <a:pt x="548910" y="744812"/>
                    </a:cubicBezTo>
                    <a:cubicBezTo>
                      <a:pt x="497518" y="716960"/>
                      <a:pt x="443271" y="689108"/>
                      <a:pt x="396875" y="664827"/>
                    </a:cubicBezTo>
                    <a:cubicBezTo>
                      <a:pt x="396875" y="664827"/>
                      <a:pt x="396875" y="664827"/>
                      <a:pt x="413292" y="654828"/>
                    </a:cubicBezTo>
                    <a:cubicBezTo>
                      <a:pt x="413292" y="654828"/>
                      <a:pt x="413292" y="654828"/>
                      <a:pt x="428995" y="645544"/>
                    </a:cubicBezTo>
                    <a:cubicBezTo>
                      <a:pt x="428995" y="645544"/>
                      <a:pt x="428995" y="645544"/>
                      <a:pt x="466826" y="623405"/>
                    </a:cubicBezTo>
                    <a:cubicBezTo>
                      <a:pt x="466826" y="623405"/>
                      <a:pt x="466826" y="623405"/>
                      <a:pt x="482529" y="614121"/>
                    </a:cubicBezTo>
                    <a:cubicBezTo>
                      <a:pt x="482529" y="614121"/>
                      <a:pt x="482529" y="614121"/>
                      <a:pt x="498232" y="604837"/>
                    </a:cubicBezTo>
                    <a:close/>
                    <a:moveTo>
                      <a:pt x="130969" y="279400"/>
                    </a:moveTo>
                    <a:cubicBezTo>
                      <a:pt x="76720" y="279400"/>
                      <a:pt x="31750" y="323656"/>
                      <a:pt x="31750" y="377905"/>
                    </a:cubicBezTo>
                    <a:cubicBezTo>
                      <a:pt x="31750" y="432868"/>
                      <a:pt x="76720" y="477838"/>
                      <a:pt x="130969" y="477838"/>
                    </a:cubicBezTo>
                    <a:cubicBezTo>
                      <a:pt x="139535" y="477838"/>
                      <a:pt x="148101" y="476411"/>
                      <a:pt x="156666" y="474269"/>
                    </a:cubicBezTo>
                    <a:cubicBezTo>
                      <a:pt x="168801" y="470700"/>
                      <a:pt x="180222" y="464990"/>
                      <a:pt x="190215" y="457852"/>
                    </a:cubicBezTo>
                    <a:cubicBezTo>
                      <a:pt x="214485" y="439293"/>
                      <a:pt x="230188" y="410740"/>
                      <a:pt x="230188" y="377905"/>
                    </a:cubicBezTo>
                    <a:cubicBezTo>
                      <a:pt x="230188" y="374336"/>
                      <a:pt x="230188" y="371481"/>
                      <a:pt x="229474" y="367912"/>
                    </a:cubicBezTo>
                    <a:cubicBezTo>
                      <a:pt x="228047" y="353636"/>
                      <a:pt x="223764" y="340787"/>
                      <a:pt x="216626" y="328653"/>
                    </a:cubicBezTo>
                    <a:cubicBezTo>
                      <a:pt x="199495" y="299387"/>
                      <a:pt x="167373" y="279400"/>
                      <a:pt x="130969" y="279400"/>
                    </a:cubicBezTo>
                    <a:close/>
                    <a:moveTo>
                      <a:pt x="130765" y="247650"/>
                    </a:moveTo>
                    <a:cubicBezTo>
                      <a:pt x="180784" y="247650"/>
                      <a:pt x="224372" y="276202"/>
                      <a:pt x="246523" y="317602"/>
                    </a:cubicBezTo>
                    <a:cubicBezTo>
                      <a:pt x="250096" y="323312"/>
                      <a:pt x="252240" y="330450"/>
                      <a:pt x="255098" y="336874"/>
                    </a:cubicBezTo>
                    <a:cubicBezTo>
                      <a:pt x="255098" y="336874"/>
                      <a:pt x="255098" y="336874"/>
                      <a:pt x="307975" y="478205"/>
                    </a:cubicBezTo>
                    <a:cubicBezTo>
                      <a:pt x="302973" y="481060"/>
                      <a:pt x="298686" y="483201"/>
                      <a:pt x="293684" y="486056"/>
                    </a:cubicBezTo>
                    <a:cubicBezTo>
                      <a:pt x="289397" y="488198"/>
                      <a:pt x="284395" y="491053"/>
                      <a:pt x="280107" y="493194"/>
                    </a:cubicBezTo>
                    <a:cubicBezTo>
                      <a:pt x="253669" y="506756"/>
                      <a:pt x="236519" y="515322"/>
                      <a:pt x="232947" y="517463"/>
                    </a:cubicBezTo>
                    <a:cubicBezTo>
                      <a:pt x="232947" y="517463"/>
                      <a:pt x="232947" y="517463"/>
                      <a:pt x="232232" y="517463"/>
                    </a:cubicBezTo>
                    <a:cubicBezTo>
                      <a:pt x="232232" y="517463"/>
                      <a:pt x="232232" y="517463"/>
                      <a:pt x="225801" y="521032"/>
                    </a:cubicBezTo>
                    <a:cubicBezTo>
                      <a:pt x="223657" y="522460"/>
                      <a:pt x="221514" y="523887"/>
                      <a:pt x="219370" y="526029"/>
                    </a:cubicBezTo>
                    <a:cubicBezTo>
                      <a:pt x="219370" y="526029"/>
                      <a:pt x="219370" y="526029"/>
                      <a:pt x="208652" y="538163"/>
                    </a:cubicBezTo>
                    <a:cubicBezTo>
                      <a:pt x="208652" y="538163"/>
                      <a:pt x="208652" y="538163"/>
                      <a:pt x="175067" y="501046"/>
                    </a:cubicBezTo>
                    <a:cubicBezTo>
                      <a:pt x="161491" y="506043"/>
                      <a:pt x="146485" y="508184"/>
                      <a:pt x="130765" y="508184"/>
                    </a:cubicBezTo>
                    <a:cubicBezTo>
                      <a:pt x="128621" y="508184"/>
                      <a:pt x="127192" y="508184"/>
                      <a:pt x="125763" y="507470"/>
                    </a:cubicBezTo>
                    <a:cubicBezTo>
                      <a:pt x="56450" y="506043"/>
                      <a:pt x="0" y="448225"/>
                      <a:pt x="0" y="377560"/>
                    </a:cubicBezTo>
                    <a:cubicBezTo>
                      <a:pt x="0" y="306181"/>
                      <a:pt x="59309" y="247650"/>
                      <a:pt x="130765" y="247650"/>
                    </a:cubicBezTo>
                    <a:close/>
                    <a:moveTo>
                      <a:pt x="680432" y="69850"/>
                    </a:moveTo>
                    <a:cubicBezTo>
                      <a:pt x="680432" y="69850"/>
                      <a:pt x="680432" y="69850"/>
                      <a:pt x="980257" y="69850"/>
                    </a:cubicBezTo>
                    <a:cubicBezTo>
                      <a:pt x="982394" y="69850"/>
                      <a:pt x="983106" y="71279"/>
                      <a:pt x="982394" y="73421"/>
                    </a:cubicBezTo>
                    <a:cubicBezTo>
                      <a:pt x="980969" y="77707"/>
                      <a:pt x="980257" y="83421"/>
                      <a:pt x="980257" y="89135"/>
                    </a:cubicBezTo>
                    <a:cubicBezTo>
                      <a:pt x="980257" y="117704"/>
                      <a:pt x="1002335" y="140560"/>
                      <a:pt x="1030822" y="140560"/>
                    </a:cubicBezTo>
                    <a:cubicBezTo>
                      <a:pt x="1036519" y="140560"/>
                      <a:pt x="1041504" y="139846"/>
                      <a:pt x="1046490" y="138417"/>
                    </a:cubicBezTo>
                    <a:cubicBezTo>
                      <a:pt x="1047202" y="138417"/>
                      <a:pt x="1047202" y="138417"/>
                      <a:pt x="1047914" y="138417"/>
                    </a:cubicBezTo>
                    <a:cubicBezTo>
                      <a:pt x="1048626" y="138417"/>
                      <a:pt x="1048626" y="138417"/>
                      <a:pt x="1048626" y="138417"/>
                    </a:cubicBezTo>
                    <a:cubicBezTo>
                      <a:pt x="1048626" y="138417"/>
                      <a:pt x="1049338" y="138417"/>
                      <a:pt x="1049338" y="139132"/>
                    </a:cubicBezTo>
                    <a:cubicBezTo>
                      <a:pt x="1049338" y="139846"/>
                      <a:pt x="1049338" y="139846"/>
                      <a:pt x="1049338" y="139846"/>
                    </a:cubicBezTo>
                    <a:cubicBezTo>
                      <a:pt x="1049338" y="139846"/>
                      <a:pt x="1049338" y="139846"/>
                      <a:pt x="1049338" y="395544"/>
                    </a:cubicBezTo>
                    <a:cubicBezTo>
                      <a:pt x="1049338" y="424114"/>
                      <a:pt x="1049338" y="455540"/>
                      <a:pt x="1049338" y="490538"/>
                    </a:cubicBezTo>
                    <a:cubicBezTo>
                      <a:pt x="1008744" y="440541"/>
                      <a:pt x="931829" y="406258"/>
                      <a:pt x="842095" y="403401"/>
                    </a:cubicBezTo>
                    <a:cubicBezTo>
                      <a:pt x="838535" y="403401"/>
                      <a:pt x="834974" y="403401"/>
                      <a:pt x="830701" y="403401"/>
                    </a:cubicBezTo>
                    <a:cubicBezTo>
                      <a:pt x="786546" y="403401"/>
                      <a:pt x="745240" y="411257"/>
                      <a:pt x="708919" y="424828"/>
                    </a:cubicBezTo>
                    <a:cubicBezTo>
                      <a:pt x="679007" y="436256"/>
                      <a:pt x="652657" y="451255"/>
                      <a:pt x="632004" y="469825"/>
                    </a:cubicBezTo>
                    <a:cubicBezTo>
                      <a:pt x="624882" y="476253"/>
                      <a:pt x="618473" y="483396"/>
                      <a:pt x="612775" y="490538"/>
                    </a:cubicBezTo>
                    <a:cubicBezTo>
                      <a:pt x="612775" y="487681"/>
                      <a:pt x="612775" y="484824"/>
                      <a:pt x="612775" y="481253"/>
                    </a:cubicBezTo>
                    <a:cubicBezTo>
                      <a:pt x="612775" y="476253"/>
                      <a:pt x="612775" y="470539"/>
                      <a:pt x="612775" y="463397"/>
                    </a:cubicBezTo>
                    <a:cubicBezTo>
                      <a:pt x="612775" y="457683"/>
                      <a:pt x="612775" y="451969"/>
                      <a:pt x="612775" y="444827"/>
                    </a:cubicBezTo>
                    <a:cubicBezTo>
                      <a:pt x="612775" y="434827"/>
                      <a:pt x="612775" y="423399"/>
                      <a:pt x="612775" y="409829"/>
                    </a:cubicBezTo>
                    <a:cubicBezTo>
                      <a:pt x="612775" y="405543"/>
                      <a:pt x="612775" y="400544"/>
                      <a:pt x="612775" y="395544"/>
                    </a:cubicBezTo>
                    <a:cubicBezTo>
                      <a:pt x="612775" y="394116"/>
                      <a:pt x="612775" y="393401"/>
                      <a:pt x="612775" y="391973"/>
                    </a:cubicBezTo>
                    <a:cubicBezTo>
                      <a:pt x="612775" y="386259"/>
                      <a:pt x="612775" y="380545"/>
                      <a:pt x="612775" y="374117"/>
                    </a:cubicBezTo>
                    <a:cubicBezTo>
                      <a:pt x="612775" y="357689"/>
                      <a:pt x="612775" y="339833"/>
                      <a:pt x="612775" y="319120"/>
                    </a:cubicBezTo>
                    <a:cubicBezTo>
                      <a:pt x="612775" y="271980"/>
                      <a:pt x="612775" y="213413"/>
                      <a:pt x="612775" y="140560"/>
                    </a:cubicBezTo>
                    <a:cubicBezTo>
                      <a:pt x="612775" y="139132"/>
                      <a:pt x="614200" y="138417"/>
                      <a:pt x="614912" y="138417"/>
                    </a:cubicBezTo>
                    <a:cubicBezTo>
                      <a:pt x="619897" y="139846"/>
                      <a:pt x="624882" y="140560"/>
                      <a:pt x="629867" y="140560"/>
                    </a:cubicBezTo>
                    <a:cubicBezTo>
                      <a:pt x="658354" y="140560"/>
                      <a:pt x="681144" y="117704"/>
                      <a:pt x="681144" y="89135"/>
                    </a:cubicBezTo>
                    <a:cubicBezTo>
                      <a:pt x="681144" y="83421"/>
                      <a:pt x="679720" y="77707"/>
                      <a:pt x="678295" y="73421"/>
                    </a:cubicBezTo>
                    <a:cubicBezTo>
                      <a:pt x="677583" y="71279"/>
                      <a:pt x="679007" y="69850"/>
                      <a:pt x="680432" y="69850"/>
                    </a:cubicBezTo>
                    <a:close/>
                    <a:moveTo>
                      <a:pt x="564547" y="0"/>
                    </a:moveTo>
                    <a:cubicBezTo>
                      <a:pt x="564547" y="0"/>
                      <a:pt x="564547" y="0"/>
                      <a:pt x="1095549" y="0"/>
                    </a:cubicBezTo>
                    <a:cubicBezTo>
                      <a:pt x="1104827" y="0"/>
                      <a:pt x="1111250" y="7133"/>
                      <a:pt x="1111250" y="15692"/>
                    </a:cubicBezTo>
                    <a:cubicBezTo>
                      <a:pt x="1111250" y="15692"/>
                      <a:pt x="1111250" y="15692"/>
                      <a:pt x="1111250" y="1124133"/>
                    </a:cubicBezTo>
                    <a:cubicBezTo>
                      <a:pt x="1111250" y="1132692"/>
                      <a:pt x="1104827" y="1139825"/>
                      <a:pt x="1095549" y="1139825"/>
                    </a:cubicBezTo>
                    <a:cubicBezTo>
                      <a:pt x="1095549" y="1139825"/>
                      <a:pt x="1095549" y="1139825"/>
                      <a:pt x="564547" y="1139825"/>
                    </a:cubicBezTo>
                    <a:cubicBezTo>
                      <a:pt x="555982" y="1139825"/>
                      <a:pt x="548845" y="1132692"/>
                      <a:pt x="548845" y="1124133"/>
                    </a:cubicBezTo>
                    <a:cubicBezTo>
                      <a:pt x="548845" y="1124133"/>
                      <a:pt x="548845" y="1124133"/>
                      <a:pt x="548845" y="798876"/>
                    </a:cubicBezTo>
                    <a:cubicBezTo>
                      <a:pt x="559551" y="804583"/>
                      <a:pt x="570256" y="810289"/>
                      <a:pt x="580248" y="815995"/>
                    </a:cubicBezTo>
                    <a:cubicBezTo>
                      <a:pt x="580248" y="815995"/>
                      <a:pt x="580248" y="815995"/>
                      <a:pt x="580248" y="1108441"/>
                    </a:cubicBezTo>
                    <a:cubicBezTo>
                      <a:pt x="580248" y="1108441"/>
                      <a:pt x="580248" y="1108441"/>
                      <a:pt x="1079847" y="1108441"/>
                    </a:cubicBezTo>
                    <a:cubicBezTo>
                      <a:pt x="1079847" y="1108441"/>
                      <a:pt x="1079847" y="1108441"/>
                      <a:pt x="1079847" y="538528"/>
                    </a:cubicBezTo>
                    <a:cubicBezTo>
                      <a:pt x="1079847" y="538528"/>
                      <a:pt x="1079847" y="538528"/>
                      <a:pt x="1080561" y="538528"/>
                    </a:cubicBezTo>
                    <a:cubicBezTo>
                      <a:pt x="1080561" y="538528"/>
                      <a:pt x="1080561" y="538528"/>
                      <a:pt x="1080561" y="507144"/>
                    </a:cubicBezTo>
                    <a:cubicBezTo>
                      <a:pt x="1080561" y="507144"/>
                      <a:pt x="1080561" y="507144"/>
                      <a:pt x="1080561" y="394445"/>
                    </a:cubicBezTo>
                    <a:cubicBezTo>
                      <a:pt x="1080561" y="394445"/>
                      <a:pt x="1080561" y="394445"/>
                      <a:pt x="1080561" y="139803"/>
                    </a:cubicBezTo>
                    <a:cubicBezTo>
                      <a:pt x="1080561" y="137664"/>
                      <a:pt x="1080561" y="136237"/>
                      <a:pt x="1079847" y="134810"/>
                    </a:cubicBezTo>
                    <a:cubicBezTo>
                      <a:pt x="1079847" y="134810"/>
                      <a:pt x="1079847" y="134810"/>
                      <a:pt x="1079847" y="31385"/>
                    </a:cubicBezTo>
                    <a:cubicBezTo>
                      <a:pt x="1079847" y="31385"/>
                      <a:pt x="1079847" y="31385"/>
                      <a:pt x="580248" y="31385"/>
                    </a:cubicBezTo>
                    <a:cubicBezTo>
                      <a:pt x="580248" y="31385"/>
                      <a:pt x="580248" y="31385"/>
                      <a:pt x="580248" y="135524"/>
                    </a:cubicBezTo>
                    <a:cubicBezTo>
                      <a:pt x="580248" y="135524"/>
                      <a:pt x="580248" y="135524"/>
                      <a:pt x="580248" y="334530"/>
                    </a:cubicBezTo>
                    <a:cubicBezTo>
                      <a:pt x="580248" y="334530"/>
                      <a:pt x="580248" y="334530"/>
                      <a:pt x="580248" y="389452"/>
                    </a:cubicBezTo>
                    <a:cubicBezTo>
                      <a:pt x="580248" y="389452"/>
                      <a:pt x="580248" y="389452"/>
                      <a:pt x="580248" y="407284"/>
                    </a:cubicBezTo>
                    <a:cubicBezTo>
                      <a:pt x="580248" y="407284"/>
                      <a:pt x="580248" y="407284"/>
                      <a:pt x="580248" y="425116"/>
                    </a:cubicBezTo>
                    <a:cubicBezTo>
                      <a:pt x="580248" y="425116"/>
                      <a:pt x="580248" y="425116"/>
                      <a:pt x="580248" y="462207"/>
                    </a:cubicBezTo>
                    <a:cubicBezTo>
                      <a:pt x="580248" y="462207"/>
                      <a:pt x="580248" y="462207"/>
                      <a:pt x="580248" y="480039"/>
                    </a:cubicBezTo>
                    <a:cubicBezTo>
                      <a:pt x="580248" y="480039"/>
                      <a:pt x="580248" y="480039"/>
                      <a:pt x="580248" y="498584"/>
                    </a:cubicBezTo>
                    <a:cubicBezTo>
                      <a:pt x="580248" y="498584"/>
                      <a:pt x="580248" y="498584"/>
                      <a:pt x="580248" y="538528"/>
                    </a:cubicBezTo>
                    <a:cubicBezTo>
                      <a:pt x="580248" y="538528"/>
                      <a:pt x="580248" y="538528"/>
                      <a:pt x="580248" y="554934"/>
                    </a:cubicBezTo>
                    <a:cubicBezTo>
                      <a:pt x="580248" y="554934"/>
                      <a:pt x="580248" y="554934"/>
                      <a:pt x="580248" y="575619"/>
                    </a:cubicBezTo>
                    <a:cubicBezTo>
                      <a:pt x="580248" y="575619"/>
                      <a:pt x="580248" y="575619"/>
                      <a:pt x="580248" y="594878"/>
                    </a:cubicBezTo>
                    <a:cubicBezTo>
                      <a:pt x="580248" y="594878"/>
                      <a:pt x="580248" y="594878"/>
                      <a:pt x="548845" y="576332"/>
                    </a:cubicBezTo>
                    <a:cubicBezTo>
                      <a:pt x="548845" y="576332"/>
                      <a:pt x="548845" y="576332"/>
                      <a:pt x="548845" y="575619"/>
                    </a:cubicBezTo>
                    <a:cubicBezTo>
                      <a:pt x="548845" y="575619"/>
                      <a:pt x="548845" y="575619"/>
                      <a:pt x="548845" y="573479"/>
                    </a:cubicBezTo>
                    <a:cubicBezTo>
                      <a:pt x="548845" y="573479"/>
                      <a:pt x="548845" y="573479"/>
                      <a:pt x="548845" y="517130"/>
                    </a:cubicBezTo>
                    <a:cubicBezTo>
                      <a:pt x="548845" y="517130"/>
                      <a:pt x="548845" y="517130"/>
                      <a:pt x="498171" y="546374"/>
                    </a:cubicBezTo>
                    <a:cubicBezTo>
                      <a:pt x="498171" y="546374"/>
                      <a:pt x="498171" y="546374"/>
                      <a:pt x="449639" y="574906"/>
                    </a:cubicBezTo>
                    <a:cubicBezTo>
                      <a:pt x="449639" y="574906"/>
                      <a:pt x="449639" y="574906"/>
                      <a:pt x="433937" y="584178"/>
                    </a:cubicBezTo>
                    <a:cubicBezTo>
                      <a:pt x="433937" y="584178"/>
                      <a:pt x="433937" y="584178"/>
                      <a:pt x="418236" y="593451"/>
                    </a:cubicBezTo>
                    <a:cubicBezTo>
                      <a:pt x="418236" y="593451"/>
                      <a:pt x="418236" y="593451"/>
                      <a:pt x="377554" y="617703"/>
                    </a:cubicBezTo>
                    <a:cubicBezTo>
                      <a:pt x="377554" y="617703"/>
                      <a:pt x="377554" y="617703"/>
                      <a:pt x="361139" y="626975"/>
                    </a:cubicBezTo>
                    <a:cubicBezTo>
                      <a:pt x="361139" y="626975"/>
                      <a:pt x="361139" y="626975"/>
                      <a:pt x="345437" y="636248"/>
                    </a:cubicBezTo>
                    <a:cubicBezTo>
                      <a:pt x="345437" y="636248"/>
                      <a:pt x="345437" y="636248"/>
                      <a:pt x="315461" y="654080"/>
                    </a:cubicBezTo>
                    <a:cubicBezTo>
                      <a:pt x="315461" y="654080"/>
                      <a:pt x="315461" y="654080"/>
                      <a:pt x="308324" y="671912"/>
                    </a:cubicBezTo>
                    <a:cubicBezTo>
                      <a:pt x="308324" y="671912"/>
                      <a:pt x="308324" y="671912"/>
                      <a:pt x="255509" y="813142"/>
                    </a:cubicBezTo>
                    <a:cubicBezTo>
                      <a:pt x="253368" y="820275"/>
                      <a:pt x="250513" y="826694"/>
                      <a:pt x="246945" y="833114"/>
                    </a:cubicBezTo>
                    <a:cubicBezTo>
                      <a:pt x="224820" y="874484"/>
                      <a:pt x="181283" y="903015"/>
                      <a:pt x="131323" y="903015"/>
                    </a:cubicBezTo>
                    <a:cubicBezTo>
                      <a:pt x="59238" y="903015"/>
                      <a:pt x="0" y="844526"/>
                      <a:pt x="0" y="772485"/>
                    </a:cubicBezTo>
                    <a:cubicBezTo>
                      <a:pt x="0" y="701870"/>
                      <a:pt x="56384" y="644094"/>
                      <a:pt x="126327" y="641954"/>
                    </a:cubicBezTo>
                    <a:cubicBezTo>
                      <a:pt x="127755" y="641954"/>
                      <a:pt x="129182" y="641954"/>
                      <a:pt x="131323" y="641954"/>
                    </a:cubicBezTo>
                    <a:cubicBezTo>
                      <a:pt x="147025" y="641954"/>
                      <a:pt x="162013" y="644807"/>
                      <a:pt x="175573" y="649800"/>
                    </a:cubicBezTo>
                    <a:cubicBezTo>
                      <a:pt x="175573" y="649800"/>
                      <a:pt x="175573" y="649800"/>
                      <a:pt x="209118" y="611996"/>
                    </a:cubicBezTo>
                    <a:cubicBezTo>
                      <a:pt x="209118" y="611996"/>
                      <a:pt x="209118" y="611996"/>
                      <a:pt x="241949" y="574906"/>
                    </a:cubicBezTo>
                    <a:cubicBezTo>
                      <a:pt x="241949" y="574906"/>
                      <a:pt x="241949" y="574906"/>
                      <a:pt x="251227" y="564920"/>
                    </a:cubicBezTo>
                    <a:cubicBezTo>
                      <a:pt x="251941" y="564206"/>
                      <a:pt x="252654" y="563493"/>
                      <a:pt x="252654" y="563493"/>
                    </a:cubicBezTo>
                    <a:cubicBezTo>
                      <a:pt x="254082" y="562780"/>
                      <a:pt x="254796" y="562067"/>
                      <a:pt x="255509" y="561353"/>
                    </a:cubicBezTo>
                    <a:cubicBezTo>
                      <a:pt x="256223" y="561353"/>
                      <a:pt x="259792" y="559213"/>
                      <a:pt x="266929" y="555647"/>
                    </a:cubicBezTo>
                    <a:cubicBezTo>
                      <a:pt x="276921" y="550654"/>
                      <a:pt x="292622" y="542095"/>
                      <a:pt x="312606" y="531395"/>
                    </a:cubicBezTo>
                    <a:cubicBezTo>
                      <a:pt x="317602" y="528542"/>
                      <a:pt x="323312" y="525689"/>
                      <a:pt x="329022" y="522836"/>
                    </a:cubicBezTo>
                    <a:cubicBezTo>
                      <a:pt x="334018" y="519983"/>
                      <a:pt x="339727" y="517130"/>
                      <a:pt x="345437" y="514277"/>
                    </a:cubicBezTo>
                    <a:cubicBezTo>
                      <a:pt x="361139" y="505717"/>
                      <a:pt x="378268" y="496445"/>
                      <a:pt x="396111" y="487172"/>
                    </a:cubicBezTo>
                    <a:cubicBezTo>
                      <a:pt x="443216" y="462207"/>
                      <a:pt x="497458" y="433676"/>
                      <a:pt x="548845" y="406571"/>
                    </a:cubicBezTo>
                    <a:cubicBezTo>
                      <a:pt x="548845" y="406571"/>
                      <a:pt x="548845" y="406571"/>
                      <a:pt x="548845" y="350935"/>
                    </a:cubicBezTo>
                    <a:cubicBezTo>
                      <a:pt x="548845" y="350935"/>
                      <a:pt x="548845" y="350935"/>
                      <a:pt x="548845" y="15692"/>
                    </a:cubicBezTo>
                    <a:cubicBezTo>
                      <a:pt x="548845" y="7133"/>
                      <a:pt x="555982" y="0"/>
                      <a:pt x="56454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65" name="Rounded Rectangle 264"/>
          <p:cNvSpPr/>
          <p:nvPr/>
        </p:nvSpPr>
        <p:spPr>
          <a:xfrm>
            <a:off x="6737187" y="5132204"/>
            <a:ext cx="807123" cy="2283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at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67" name="Rounded Rectangle 266"/>
          <p:cNvSpPr/>
          <p:nvPr/>
        </p:nvSpPr>
        <p:spPr>
          <a:xfrm>
            <a:off x="202667" y="5146108"/>
            <a:ext cx="1513179" cy="264816"/>
          </a:xfrm>
          <a:prstGeom prst="roundRect">
            <a:avLst/>
          </a:prstGeom>
          <a:ln>
            <a:solidFill>
              <a:schemeClr val="accent1">
                <a:shade val="50000"/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fferentiator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95" name="Straight Connector 294">
            <a:extLst>
              <a:ext uri="{FF2B5EF4-FFF2-40B4-BE49-F238E27FC236}">
                <a16:creationId xmlns:a16="http://schemas.microsoft.com/office/drawing/2014/main" id="{090C65E5-3B51-471F-BA66-276FFB29E494}"/>
              </a:ext>
            </a:extLst>
          </p:cNvPr>
          <p:cNvCxnSpPr/>
          <p:nvPr/>
        </p:nvCxnSpPr>
        <p:spPr>
          <a:xfrm flipH="1">
            <a:off x="2930750" y="2008193"/>
            <a:ext cx="6245" cy="2948574"/>
          </a:xfrm>
          <a:prstGeom prst="line">
            <a:avLst/>
          </a:prstGeom>
          <a:ln w="12700" cap="rnd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090C65E5-3B51-471F-BA66-276FFB29E494}"/>
              </a:ext>
            </a:extLst>
          </p:cNvPr>
          <p:cNvCxnSpPr/>
          <p:nvPr/>
        </p:nvCxnSpPr>
        <p:spPr>
          <a:xfrm flipH="1">
            <a:off x="9089193" y="2009490"/>
            <a:ext cx="9208" cy="2947277"/>
          </a:xfrm>
          <a:prstGeom prst="line">
            <a:avLst/>
          </a:prstGeom>
          <a:ln w="12700" cap="rnd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308" name="object 32">
            <a:extLst>
              <a:ext uri="{FF2B5EF4-FFF2-40B4-BE49-F238E27FC236}">
                <a16:creationId xmlns:a16="http://schemas.microsoft.com/office/drawing/2014/main" id="{ACFFED93-CDCF-4ED9-9113-8D8BCD60A223}"/>
              </a:ext>
            </a:extLst>
          </p:cNvPr>
          <p:cNvSpPr txBox="1"/>
          <p:nvPr/>
        </p:nvSpPr>
        <p:spPr>
          <a:xfrm>
            <a:off x="9529450" y="5358361"/>
            <a:ext cx="2337986" cy="768800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>
            <a:defPPr>
              <a:defRPr lang="en-US"/>
            </a:defPPr>
            <a:lvl1pPr marL="12700" marR="5080">
              <a:lnSpc>
                <a:spcPts val="1760"/>
              </a:lnSpc>
              <a:spcBef>
                <a:spcPts val="295"/>
              </a:spcBef>
              <a:defRPr sz="1600" spc="-20">
                <a:solidFill>
                  <a:srgbClr val="6D6E73"/>
                </a:solidFill>
                <a:latin typeface="Trebuchet MS"/>
              </a:defRPr>
            </a:lvl1pPr>
          </a:lstStyle>
          <a:p>
            <a:pPr marL="12700" marR="5080" lvl="0" indent="0" algn="l" defTabSz="914400" rtl="0" eaLnBrk="1" fontAlgn="auto" latinLnBrk="0" hangingPunct="1">
              <a:lnSpc>
                <a:spcPts val="1760"/>
              </a:lnSpc>
              <a:spcBef>
                <a:spcPts val="2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-20" normalizeH="0" baseline="0" noProof="0" dirty="0" smtClean="0">
                <a:ln>
                  <a:noFill/>
                </a:ln>
                <a:solidFill>
                  <a:srgbClr val="F15A2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6000+</a:t>
            </a:r>
            <a:endParaRPr kumimoji="0" lang="en-US" sz="1100" b="0" i="0" u="none" strike="noStrike" kern="1200" cap="none" spc="-20" normalizeH="0" baseline="0" noProof="0" dirty="0" smtClean="0">
              <a:ln>
                <a:noFill/>
              </a:ln>
              <a:solidFill>
                <a:srgbClr val="6D6E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12700" marR="5080" lvl="0" indent="0" algn="l" defTabSz="914400" rtl="0" eaLnBrk="1" fontAlgn="auto" latinLnBrk="0" hangingPunct="1">
              <a:lnSpc>
                <a:spcPts val="1760"/>
              </a:lnSpc>
              <a:spcBef>
                <a:spcPts val="2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-20" normalizeH="0" baseline="0" noProof="0" dirty="0" smtClean="0">
                <a:ln>
                  <a:noFill/>
                </a:ln>
                <a:solidFill>
                  <a:srgbClr val="6D6E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erson years of international enterprise level project experience</a:t>
            </a:r>
            <a:endParaRPr kumimoji="0" lang="en-US" sz="1100" b="0" i="0" u="none" strike="noStrike" kern="1200" cap="none" spc="-20" normalizeH="0" baseline="0" noProof="0" dirty="0">
              <a:ln>
                <a:noFill/>
              </a:ln>
              <a:solidFill>
                <a:srgbClr val="6D6E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7007902" y="5460575"/>
            <a:ext cx="1955219" cy="552412"/>
            <a:chOff x="7007902" y="5460575"/>
            <a:chExt cx="1955219" cy="552412"/>
          </a:xfrm>
        </p:grpSpPr>
        <p:sp>
          <p:nvSpPr>
            <p:cNvPr id="299" name="object 32">
              <a:extLst>
                <a:ext uri="{FF2B5EF4-FFF2-40B4-BE49-F238E27FC236}">
                  <a16:creationId xmlns:a16="http://schemas.microsoft.com/office/drawing/2014/main" id="{ACFFED93-CDCF-4ED9-9113-8D8BCD60A223}"/>
                </a:ext>
              </a:extLst>
            </p:cNvPr>
            <p:cNvSpPr txBox="1"/>
            <p:nvPr/>
          </p:nvSpPr>
          <p:spPr>
            <a:xfrm>
              <a:off x="7429867" y="5475019"/>
              <a:ext cx="1533254" cy="537968"/>
            </a:xfrm>
            <a:prstGeom prst="rect">
              <a:avLst/>
            </a:prstGeom>
          </p:spPr>
          <p:txBody>
            <a:bodyPr vert="horz" wrap="square" lIns="0" tIns="37465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ts val="1760"/>
                </a:lnSpc>
                <a:spcBef>
                  <a:spcPts val="295"/>
                </a:spcBef>
                <a:defRPr sz="1600" spc="-20">
                  <a:solidFill>
                    <a:srgbClr val="6D6E73"/>
                  </a:solidFill>
                  <a:latin typeface="Trebuchet MS"/>
                </a:defRPr>
              </a:lvl1pPr>
            </a:lstStyle>
            <a:p>
              <a:pPr marL="12700" marR="5080" lvl="0" indent="0" algn="l" defTabSz="914400" rtl="0" eaLnBrk="1" fontAlgn="auto" latinLnBrk="0" hangingPunct="1">
                <a:lnSpc>
                  <a:spcPts val="1760"/>
                </a:lnSpc>
                <a:spcBef>
                  <a:spcPts val="2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F15A2B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350+</a:t>
              </a:r>
              <a:endParaRPr kumimoji="0" lang="en-US" sz="1100" b="0" i="0" u="none" strike="noStrike" kern="1200" cap="none" spc="-20" normalizeH="0" baseline="0" noProof="0" dirty="0" smtClean="0">
                <a:ln>
                  <a:noFill/>
                </a:ln>
                <a:solidFill>
                  <a:srgbClr val="6D6E7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  <a:p>
              <a:pPr marL="12700" marR="5080" lvl="0" indent="0" algn="l" defTabSz="914400" rtl="0" eaLnBrk="1" fontAlgn="auto" latinLnBrk="0" hangingPunct="1">
                <a:lnSpc>
                  <a:spcPts val="1760"/>
                </a:lnSpc>
                <a:spcBef>
                  <a:spcPts val="2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-20" normalizeH="0" baseline="0" noProof="0" dirty="0" smtClean="0">
                  <a:ln>
                    <a:noFill/>
                  </a:ln>
                  <a:solidFill>
                    <a:srgbClr val="6D6E73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Software QA Engineers</a:t>
              </a:r>
              <a:endParaRPr kumimoji="0" lang="en-US" sz="1100" b="0" i="0" u="none" strike="noStrike" kern="1200" cap="none" spc="-20" normalizeH="0" baseline="0" noProof="0" dirty="0">
                <a:ln>
                  <a:noFill/>
                </a:ln>
                <a:solidFill>
                  <a:srgbClr val="6D6E73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328" name="Group 327"/>
            <p:cNvGrpSpPr/>
            <p:nvPr/>
          </p:nvGrpSpPr>
          <p:grpSpPr>
            <a:xfrm>
              <a:off x="7007902" y="5460575"/>
              <a:ext cx="430151" cy="430150"/>
              <a:chOff x="1320292" y="5277927"/>
              <a:chExt cx="430151" cy="430150"/>
            </a:xfrm>
          </p:grpSpPr>
          <p:pic>
            <p:nvPicPr>
              <p:cNvPr id="329" name="Picture 2" descr="C:\Users\amit.malhotra1\Downloads\1334655734_User.png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20292" y="5277927"/>
                <a:ext cx="283285" cy="28328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0" name="Picture 2" descr="C:\Users\amit.malhotra1\Downloads\1334655734_User.png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67158" y="5424792"/>
                <a:ext cx="283285" cy="28328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32" name="AutoShape 9">
            <a:extLst>
              <a:ext uri="{FF2B5EF4-FFF2-40B4-BE49-F238E27FC236}">
                <a16:creationId xmlns:a16="http://schemas.microsoft.com/office/drawing/2014/main" id="{71EF85C2-CBC9-4917-8FAF-3043D6B7D64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973642" y="6037590"/>
            <a:ext cx="645535" cy="64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6" name="Picture 335"/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-100000"/>
                    </a14:imgEffect>
                    <a14:imgEffect>
                      <a14:colorTemperature colorTemp="4700"/>
                    </a14:imgEffect>
                    <a14:imgEffect>
                      <a14:saturation sat="138000"/>
                    </a14:imgEffect>
                    <a14:imgEffect>
                      <a14:brightnessContrast bright="98000" contrast="-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1300" y="5173423"/>
            <a:ext cx="603191" cy="603191"/>
          </a:xfrm>
          <a:prstGeom prst="rect">
            <a:avLst/>
          </a:prstGeom>
        </p:spPr>
      </p:pic>
      <p:pic>
        <p:nvPicPr>
          <p:cNvPr id="337" name="Picture 336"/>
          <p:cNvPicPr>
            <a:picLocks noChangeAspect="1"/>
          </p:cNvPicPr>
          <p:nvPr/>
        </p:nvPicPr>
        <p:blipFill rotWithShape="1">
          <a:blip r:embed="rId1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200000"/>
                    </a14:imgEffect>
                    <a14:imgEffect>
                      <a14:brightnessContrast brigh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260" t="27861" r="37996" b="24761"/>
          <a:stretch/>
        </p:blipFill>
        <p:spPr>
          <a:xfrm>
            <a:off x="9197746" y="5358361"/>
            <a:ext cx="284654" cy="323034"/>
          </a:xfrm>
          <a:prstGeom prst="rect">
            <a:avLst/>
          </a:prstGeom>
        </p:spPr>
      </p:pic>
      <p:cxnSp>
        <p:nvCxnSpPr>
          <p:cNvPr id="136" name="Straight Connector 135"/>
          <p:cNvCxnSpPr/>
          <p:nvPr/>
        </p:nvCxnSpPr>
        <p:spPr>
          <a:xfrm flipV="1">
            <a:off x="7285811" y="4206792"/>
            <a:ext cx="1574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17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94378" y="1336286"/>
            <a:ext cx="460547" cy="47198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46232" y="1384758"/>
            <a:ext cx="326011" cy="314367"/>
          </a:xfrm>
          <a:prstGeom prst="rect">
            <a:avLst/>
          </a:prstGeom>
        </p:spPr>
      </p:pic>
      <p:sp>
        <p:nvSpPr>
          <p:cNvPr id="7" name="Flowchart: Terminator 6"/>
          <p:cNvSpPr/>
          <p:nvPr/>
        </p:nvSpPr>
        <p:spPr>
          <a:xfrm>
            <a:off x="122989" y="2188434"/>
            <a:ext cx="2814744" cy="594435"/>
          </a:xfrm>
          <a:prstGeom prst="flowChartTerminator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nd to end test management with </a:t>
            </a:r>
            <a:r>
              <a:rPr kumimoji="0" lang="en-US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xperienced, expert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human insight leveraging technology</a:t>
            </a:r>
            <a:endParaRPr kumimoji="0" lang="en-GB" sz="1200" b="1" i="1" u="none" strike="noStrike" kern="1200" cap="none" spc="0" normalizeH="0" baseline="0" noProof="0" dirty="0">
              <a:ln>
                <a:noFill/>
              </a:ln>
              <a:solidFill>
                <a:srgbClr val="F15B2A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Flowchart: Terminator 137"/>
          <p:cNvSpPr/>
          <p:nvPr/>
        </p:nvSpPr>
        <p:spPr>
          <a:xfrm>
            <a:off x="122989" y="2955612"/>
            <a:ext cx="2856386" cy="629968"/>
          </a:xfrm>
          <a:prstGeom prst="flowChartTerminator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>
              <a:defRPr/>
            </a:pP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cross lifecycle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cluding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ean, DevOps</a:t>
            </a:r>
            <a:r>
              <a:rPr lang="en-GB" sz="1200" dirty="0">
                <a:solidFill>
                  <a:srgbClr val="414042"/>
                </a:solidFill>
                <a:cs typeface="Arial" panose="020B0604020202020204" pitchFamily="34" charset="0"/>
              </a:rPr>
              <a:t>, Agile Scrum, Scaled </a:t>
            </a:r>
            <a:r>
              <a:rPr lang="en-GB" sz="1200" dirty="0" smtClean="0">
                <a:solidFill>
                  <a:srgbClr val="414042"/>
                </a:solidFill>
                <a:cs typeface="Arial" panose="020B0604020202020204" pitchFamily="34" charset="0"/>
              </a:rPr>
              <a:t>Agile, Kanban,</a:t>
            </a:r>
            <a:r>
              <a:rPr kumimoji="0" lang="en-GB" sz="1200" b="0" i="0" u="none" strike="noStrike" kern="1200" cap="none" spc="0" normalizeH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ater-fal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-Model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9" name="Flowchart: Terminator 138"/>
          <p:cNvSpPr/>
          <p:nvPr/>
        </p:nvSpPr>
        <p:spPr>
          <a:xfrm>
            <a:off x="129601" y="3699146"/>
            <a:ext cx="2849040" cy="885153"/>
          </a:xfrm>
          <a:prstGeom prst="flowChartTerminator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Quality 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ngineering services </a:t>
            </a:r>
            <a:r>
              <a:rPr kumimoji="0" lang="en-IN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everaging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IN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dustry </a:t>
            </a:r>
            <a:r>
              <a:rPr kumimoji="0" lang="en-IN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eading best </a:t>
            </a:r>
            <a:r>
              <a:rPr kumimoji="0" lang="en-IN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actices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MMi, DevOps,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vSecOps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, TestOps,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ean principles, 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MMi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&amp; Agil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Flowchart: Terminator 139"/>
          <p:cNvSpPr/>
          <p:nvPr/>
        </p:nvSpPr>
        <p:spPr>
          <a:xfrm>
            <a:off x="9008244" y="2142176"/>
            <a:ext cx="2873721" cy="594435"/>
          </a:xfrm>
          <a:prstGeom prst="flowChartTerminator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lexibl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engagement &amp;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i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s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alabl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global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iver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model </a:t>
            </a:r>
          </a:p>
        </p:txBody>
      </p:sp>
      <p:sp>
        <p:nvSpPr>
          <p:cNvPr id="146" name="Flowchart: Terminator 145"/>
          <p:cNvSpPr/>
          <p:nvPr/>
        </p:nvSpPr>
        <p:spPr>
          <a:xfrm>
            <a:off x="9031676" y="2978051"/>
            <a:ext cx="2843621" cy="646134"/>
          </a:xfrm>
          <a:prstGeom prst="flowChartTerminator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nov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&amp; device labs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lobal </a:t>
            </a:r>
            <a:r>
              <a:rPr kumimoji="0" lang="en-US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artnerships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Flowchart: Terminator 146"/>
          <p:cNvSpPr/>
          <p:nvPr/>
        </p:nvSpPr>
        <p:spPr>
          <a:xfrm>
            <a:off x="9031676" y="3821063"/>
            <a:ext cx="2843621" cy="864664"/>
          </a:xfrm>
          <a:prstGeom prst="flowChartTerminator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KPI &amp; Metrics driven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rvi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-usable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rameworks /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rtefac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760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4757" y="1229050"/>
            <a:ext cx="7055617" cy="42273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635" y="321634"/>
            <a:ext cx="10864851" cy="513927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</a:t>
            </a:r>
            <a:r>
              <a:rPr lang="en-GB" dirty="0" smtClean="0">
                <a:solidFill>
                  <a:schemeClr val="tx2"/>
                </a:solidFill>
              </a:rPr>
              <a:t>ransform </a:t>
            </a:r>
            <a:r>
              <a:rPr lang="en-GB" dirty="0">
                <a:solidFill>
                  <a:schemeClr val="tx2"/>
                </a:solidFill>
              </a:rPr>
              <a:t>from verification &amp; </a:t>
            </a:r>
            <a:r>
              <a:rPr lang="en-GB" dirty="0" smtClean="0">
                <a:solidFill>
                  <a:schemeClr val="tx2"/>
                </a:solidFill>
              </a:rPr>
              <a:t>validation…. </a:t>
            </a:r>
            <a:br>
              <a:rPr lang="en-GB" dirty="0" smtClean="0">
                <a:solidFill>
                  <a:schemeClr val="tx2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smtClean="0">
                <a:solidFill>
                  <a:schemeClr val="tx2"/>
                </a:solidFill>
              </a:rPr>
              <a:t>               …towards  </a:t>
            </a:r>
            <a:r>
              <a:rPr lang="en-GB" dirty="0">
                <a:solidFill>
                  <a:schemeClr val="tx2"/>
                </a:solidFill>
              </a:rPr>
              <a:t>Quality Engineering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4169925" y="5516243"/>
            <a:ext cx="7834911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“Technology and tool agnostic framework with applied methodologies &amp; industry best practices to bring the focus </a:t>
            </a:r>
            <a:r>
              <a:rPr kumimoji="0" lang="en-IN" sz="1600" b="0" i="1" u="none" strike="noStrike" kern="120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on shift-left, automation and </a:t>
            </a:r>
            <a:r>
              <a:rPr kumimoji="0" lang="en-IN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collaboration”</a:t>
            </a:r>
            <a:endParaRPr kumimoji="0" lang="en-US" sz="1600" b="0" i="1" u="none" strike="noStrike" kern="1200" cap="none" spc="0" normalizeH="0" baseline="0" noProof="1">
              <a:ln>
                <a:noFill/>
              </a:ln>
              <a:solidFill>
                <a:srgbClr val="1F468D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69578" y="1222972"/>
            <a:ext cx="34026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st Early, Fail Fast…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vOps based operating model where  Business, Dev, QA &amp; Operations collaborate to ensure First Time Right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206691" y="1222972"/>
            <a:ext cx="45719" cy="954107"/>
          </a:xfrm>
          <a:prstGeom prst="rect">
            <a:avLst/>
          </a:prstGeom>
          <a:solidFill>
            <a:schemeClr val="tx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269578" y="2367839"/>
            <a:ext cx="3831994" cy="927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ploy, Test &amp; Release on Demand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everaging automation tools  across the lifecycle, including Advanced Automation  to establish Continuous Testing &amp; Release pipelines 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206691" y="2354759"/>
            <a:ext cx="45719" cy="954107"/>
          </a:xfrm>
          <a:prstGeom prst="rect">
            <a:avLst/>
          </a:prstGeom>
          <a:solidFill>
            <a:schemeClr val="tx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269578" y="3499626"/>
            <a:ext cx="3831994" cy="927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stOps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nderstanding the actual operating environment &amp; the challenges to have a continuous feedback to the engineering organization 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206691" y="3486546"/>
            <a:ext cx="45719" cy="954107"/>
          </a:xfrm>
          <a:prstGeom prst="rect">
            <a:avLst/>
          </a:prstGeom>
          <a:solidFill>
            <a:schemeClr val="tx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269578" y="4711623"/>
            <a:ext cx="3653391" cy="74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Best-practices including Lean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everaging industry best practices DevOps, DevSecOps</a:t>
            </a:r>
            <a:r>
              <a:rPr kumimoji="0" lang="en-IN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, 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ean principles  &amp; TMMi </a:t>
            </a:r>
          </a:p>
        </p:txBody>
      </p:sp>
      <p:sp>
        <p:nvSpPr>
          <p:cNvPr id="129" name="Rectangle 128"/>
          <p:cNvSpPr/>
          <p:nvPr/>
        </p:nvSpPr>
        <p:spPr>
          <a:xfrm>
            <a:off x="206691" y="4618333"/>
            <a:ext cx="45719" cy="954107"/>
          </a:xfrm>
          <a:prstGeom prst="rect">
            <a:avLst/>
          </a:prstGeom>
          <a:solidFill>
            <a:schemeClr val="tx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252410" y="5679364"/>
            <a:ext cx="3593598" cy="74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ompliance &amp; Security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Leveraging DevSecOps  best practices to ensure end-to-end focus</a:t>
            </a:r>
          </a:p>
        </p:txBody>
      </p:sp>
      <p:sp>
        <p:nvSpPr>
          <p:cNvPr id="132" name="Rectangle 131"/>
          <p:cNvSpPr/>
          <p:nvPr/>
        </p:nvSpPr>
        <p:spPr>
          <a:xfrm>
            <a:off x="206691" y="5750119"/>
            <a:ext cx="45719" cy="954107"/>
          </a:xfrm>
          <a:prstGeom prst="rect">
            <a:avLst/>
          </a:prstGeom>
          <a:solidFill>
            <a:schemeClr val="tx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3" name="Straight Connector 132"/>
          <p:cNvCxnSpPr/>
          <p:nvPr/>
        </p:nvCxnSpPr>
        <p:spPr>
          <a:xfrm>
            <a:off x="199083" y="2215297"/>
            <a:ext cx="36176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>
          <a:xfrm>
            <a:off x="199083" y="3393076"/>
            <a:ext cx="36176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>
            <a:off x="199083" y="4534123"/>
            <a:ext cx="36176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/>
        </p:nvCxnSpPr>
        <p:spPr>
          <a:xfrm>
            <a:off x="199083" y="5675169"/>
            <a:ext cx="36176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Footer Placeholder 4"/>
          <p:cNvSpPr txBox="1">
            <a:spLocks/>
          </p:cNvSpPr>
          <p:nvPr/>
        </p:nvSpPr>
        <p:spPr>
          <a:xfrm rot="16200000">
            <a:off x="10228911" y="4774201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11377812" y="6402681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6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H="1" flipV="1">
            <a:off x="4594757" y="1264917"/>
            <a:ext cx="7074774" cy="4221425"/>
          </a:xfrm>
          <a:prstGeom prst="rect">
            <a:avLst/>
          </a:prstGeom>
        </p:spPr>
      </p:pic>
      <p:sp>
        <p:nvSpPr>
          <p:cNvPr id="26" name="Rounded Rectangle 25"/>
          <p:cNvSpPr/>
          <p:nvPr/>
        </p:nvSpPr>
        <p:spPr>
          <a:xfrm>
            <a:off x="5254649" y="6033726"/>
            <a:ext cx="853963" cy="306538"/>
          </a:xfrm>
          <a:prstGeom prst="round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15B2A"/>
              </a:buClr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peed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8348979" y="6033726"/>
            <a:ext cx="785190" cy="306538"/>
          </a:xfrm>
          <a:prstGeom prst="round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15B2A"/>
              </a:buClr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OI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6237767" y="6033726"/>
            <a:ext cx="1928522" cy="306538"/>
          </a:xfrm>
          <a:prstGeom prst="round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15B2A"/>
              </a:buClr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ccuracy of Testing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9263695" y="6033726"/>
            <a:ext cx="2057676" cy="304764"/>
          </a:xfrm>
          <a:prstGeom prst="round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15B2A"/>
              </a:buClr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Quality </a:t>
            </a:r>
            <a:r>
              <a:rPr kumimoji="0" lang="en-US" sz="1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oducts Live</a:t>
            </a:r>
            <a:endParaRPr kumimoji="0" lang="en-US" sz="1400" b="1" i="1" u="none" strike="noStrike" kern="1200" cap="none" spc="0" normalizeH="0" baseline="0" noProof="0" dirty="0">
              <a:ln>
                <a:noFill/>
              </a:ln>
              <a:solidFill>
                <a:srgbClr val="F15B2A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1182" y="523960"/>
            <a:ext cx="2580569" cy="552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87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ct 54" hidden="1">
            <a:extLst>
              <a:ext uri="{FF2B5EF4-FFF2-40B4-BE49-F238E27FC236}">
                <a16:creationId xmlns:a16="http://schemas.microsoft.com/office/drawing/2014/main" id="{0EF00CDE-C327-4908-B62B-825936F7A6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9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5" name="Object 54" hidden="1">
                        <a:extLst>
                          <a:ext uri="{FF2B5EF4-FFF2-40B4-BE49-F238E27FC236}">
                            <a16:creationId xmlns:a16="http://schemas.microsoft.com/office/drawing/2014/main" id="{0EF00CDE-C327-4908-B62B-825936F7A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C8365C-2C6A-4365-9990-42FDDB9BA3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Condensed" panose="020B0502040204020203" pitchFamily="34" charset="0"/>
              <a:ea typeface="+mn-ea"/>
              <a:cs typeface="Arial" panose="020B0604020202020204" pitchFamily="34" charset="0"/>
              <a:sym typeface="Bahnschrift Condensed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tx2"/>
                </a:solidFill>
              </a:rPr>
              <a:t>From Automation Scripts to Advanced Autom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accent1"/>
                </a:solidFill>
              </a:rPr>
              <a:t>… </a:t>
            </a:r>
            <a:r>
              <a:rPr lang="en-IN" dirty="0" smtClean="0">
                <a:solidFill>
                  <a:schemeClr val="accent1"/>
                </a:solidFill>
              </a:rPr>
              <a:t>the </a:t>
            </a:r>
            <a:r>
              <a:rPr lang="en-US" dirty="0" smtClean="0">
                <a:solidFill>
                  <a:schemeClr val="accent1"/>
                </a:solidFill>
              </a:rPr>
              <a:t>power of human insight leveraging  technology advances in AI / ML</a:t>
            </a:r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47353"/>
            <a:ext cx="6877050" cy="4981998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6877050" y="1250515"/>
            <a:ext cx="0" cy="49407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8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806" y="1559415"/>
            <a:ext cx="5010150" cy="2521776"/>
          </a:xfrm>
          <a:prstGeom prst="rect">
            <a:avLst/>
          </a:prstGeom>
        </p:spPr>
      </p:pic>
      <p:grpSp>
        <p:nvGrpSpPr>
          <p:cNvPr id="42" name="Group 41"/>
          <p:cNvGrpSpPr/>
          <p:nvPr/>
        </p:nvGrpSpPr>
        <p:grpSpPr>
          <a:xfrm>
            <a:off x="513983" y="1313809"/>
            <a:ext cx="842516" cy="842516"/>
            <a:chOff x="6637867" y="2032000"/>
            <a:chExt cx="1557867" cy="1557867"/>
          </a:xfrm>
        </p:grpSpPr>
        <p:sp>
          <p:nvSpPr>
            <p:cNvPr id="43" name="Oval 42"/>
            <p:cNvSpPr/>
            <p:nvPr/>
          </p:nvSpPr>
          <p:spPr>
            <a:xfrm>
              <a:off x="6637867" y="2032000"/>
              <a:ext cx="1557867" cy="1557867"/>
            </a:xfrm>
            <a:prstGeom prst="ellipse">
              <a:avLst/>
            </a:prstGeom>
            <a:gradFill>
              <a:gsLst>
                <a:gs pos="0">
                  <a:srgbClr val="F9FFFA"/>
                </a:gs>
                <a:gs pos="35000">
                  <a:srgbClr val="FFFBFE"/>
                </a:gs>
                <a:gs pos="70000">
                  <a:srgbClr val="D9DEE1"/>
                </a:gs>
                <a:gs pos="100000">
                  <a:srgbClr val="D3D8DB"/>
                </a:gs>
              </a:gsLst>
              <a:lin ang="18000000" scaled="0"/>
            </a:gra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6807412" y="2220595"/>
              <a:ext cx="1179830" cy="1179830"/>
            </a:xfrm>
            <a:prstGeom prst="ellipse">
              <a:avLst/>
            </a:prstGeom>
            <a:gradFill>
              <a:gsLst>
                <a:gs pos="0">
                  <a:srgbClr val="FCB713"/>
                </a:gs>
                <a:gs pos="100000">
                  <a:srgbClr val="F59C19"/>
                </a:gs>
              </a:gsLst>
              <a:lin ang="18000000" scaled="0"/>
            </a:gra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05674" y="1473860"/>
            <a:ext cx="5645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X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56499" y="1488434"/>
            <a:ext cx="1369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ter to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t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97714" y="4572667"/>
            <a:ext cx="24157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</a:t>
            </a: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telligent Validation 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2332614" y="1858202"/>
            <a:ext cx="973898" cy="973898"/>
            <a:chOff x="6637867" y="2032000"/>
            <a:chExt cx="1557867" cy="1557867"/>
          </a:xfrm>
        </p:grpSpPr>
        <p:sp>
          <p:nvSpPr>
            <p:cNvPr id="53" name="Oval 52"/>
            <p:cNvSpPr/>
            <p:nvPr/>
          </p:nvSpPr>
          <p:spPr>
            <a:xfrm>
              <a:off x="6637867" y="2032000"/>
              <a:ext cx="1557867" cy="1557867"/>
            </a:xfrm>
            <a:prstGeom prst="ellipse">
              <a:avLst/>
            </a:prstGeom>
            <a:gradFill>
              <a:gsLst>
                <a:gs pos="0">
                  <a:srgbClr val="F9FFFA"/>
                </a:gs>
                <a:gs pos="35000">
                  <a:srgbClr val="FFFBFE"/>
                </a:gs>
                <a:gs pos="70000">
                  <a:srgbClr val="D9DEE1"/>
                </a:gs>
                <a:gs pos="100000">
                  <a:srgbClr val="D3D8DB"/>
                </a:gs>
              </a:gsLst>
              <a:lin ang="18000000" scaled="0"/>
            </a:gra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6807412" y="2220595"/>
              <a:ext cx="1179830" cy="1179830"/>
            </a:xfrm>
            <a:prstGeom prst="ellipse">
              <a:avLst/>
            </a:prstGeom>
            <a:gradFill>
              <a:gsLst>
                <a:gs pos="0">
                  <a:srgbClr val="ABD038"/>
                </a:gs>
                <a:gs pos="100000">
                  <a:srgbClr val="60BA45"/>
                </a:gs>
              </a:gsLst>
              <a:lin ang="18000000" scaled="0"/>
            </a:gra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TextBox 70"/>
          <p:cNvSpPr txBox="1"/>
          <p:nvPr/>
        </p:nvSpPr>
        <p:spPr>
          <a:xfrm>
            <a:off x="2428854" y="2083276"/>
            <a:ext cx="7473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X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316263" y="2196384"/>
            <a:ext cx="1720344" cy="2970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ivity increase</a:t>
            </a:r>
          </a:p>
        </p:txBody>
      </p:sp>
      <p:grpSp>
        <p:nvGrpSpPr>
          <p:cNvPr id="77" name="Group 76"/>
          <p:cNvGrpSpPr/>
          <p:nvPr/>
        </p:nvGrpSpPr>
        <p:grpSpPr>
          <a:xfrm>
            <a:off x="4041858" y="1271430"/>
            <a:ext cx="841248" cy="841248"/>
            <a:chOff x="6637867" y="2032000"/>
            <a:chExt cx="1557867" cy="1557867"/>
          </a:xfrm>
        </p:grpSpPr>
        <p:sp>
          <p:nvSpPr>
            <p:cNvPr id="78" name="Oval 77"/>
            <p:cNvSpPr/>
            <p:nvPr/>
          </p:nvSpPr>
          <p:spPr>
            <a:xfrm>
              <a:off x="6637867" y="2032000"/>
              <a:ext cx="1557867" cy="1557867"/>
            </a:xfrm>
            <a:prstGeom prst="ellipse">
              <a:avLst/>
            </a:prstGeom>
            <a:gradFill>
              <a:gsLst>
                <a:gs pos="0">
                  <a:srgbClr val="F9FFFA"/>
                </a:gs>
                <a:gs pos="35000">
                  <a:srgbClr val="FFFBFE"/>
                </a:gs>
                <a:gs pos="70000">
                  <a:srgbClr val="D9DEE1"/>
                </a:gs>
                <a:gs pos="100000">
                  <a:srgbClr val="D3D8DB"/>
                </a:gs>
              </a:gsLst>
              <a:lin ang="18000000" scaled="0"/>
            </a:gra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6807412" y="2220595"/>
              <a:ext cx="1179830" cy="1179830"/>
            </a:xfrm>
            <a:prstGeom prst="ellipse">
              <a:avLst/>
            </a:prstGeom>
            <a:gradFill>
              <a:gsLst>
                <a:gs pos="0">
                  <a:srgbClr val="71509F"/>
                </a:gs>
                <a:gs pos="100000">
                  <a:srgbClr val="5B3E83"/>
                </a:gs>
              </a:gsLst>
              <a:lin ang="18000000" scaled="0"/>
            </a:gra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TextBox 80"/>
          <p:cNvSpPr txBox="1"/>
          <p:nvPr/>
        </p:nvSpPr>
        <p:spPr>
          <a:xfrm>
            <a:off x="4065606" y="1424502"/>
            <a:ext cx="8114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%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900795" y="1499207"/>
            <a:ext cx="1162499" cy="2970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ced cost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331076" y="4966361"/>
            <a:ext cx="45490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 on business funct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target application to be teste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ther than traditional automation framework tooling technology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2312566" y="5809539"/>
            <a:ext cx="2542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e wit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Ops pipelin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1574678" y="4934187"/>
            <a:ext cx="4131855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1574678" y="5705025"/>
            <a:ext cx="4131855" cy="0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7060267" y="1327552"/>
            <a:ext cx="2902884" cy="59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 Tests Case in plain Englis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lated automatically using Natural Language processing &amp; AI algorithms</a:t>
            </a:r>
          </a:p>
        </p:txBody>
      </p:sp>
      <p:pic>
        <p:nvPicPr>
          <p:cNvPr id="87" name="Picture 86"/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18" r="19705"/>
          <a:stretch/>
        </p:blipFill>
        <p:spPr>
          <a:xfrm>
            <a:off x="7818648" y="2115207"/>
            <a:ext cx="770965" cy="796485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33" r="1645" b="8400"/>
          <a:stretch/>
        </p:blipFill>
        <p:spPr>
          <a:xfrm>
            <a:off x="7738033" y="2747445"/>
            <a:ext cx="932195" cy="730042"/>
          </a:xfrm>
          <a:prstGeom prst="rect">
            <a:avLst/>
          </a:prstGeom>
        </p:spPr>
      </p:pic>
      <p:cxnSp>
        <p:nvCxnSpPr>
          <p:cNvPr id="21" name="Straight Connector 20"/>
          <p:cNvCxnSpPr/>
          <p:nvPr/>
        </p:nvCxnSpPr>
        <p:spPr>
          <a:xfrm>
            <a:off x="7803340" y="3477487"/>
            <a:ext cx="0" cy="7759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7118333" y="4235827"/>
            <a:ext cx="1651378" cy="10710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using ML+AI Algorith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generated using technologies including Computer Vision, Machine Learning &amp; AI algorithms </a:t>
            </a:r>
          </a:p>
        </p:txBody>
      </p:sp>
      <p:cxnSp>
        <p:nvCxnSpPr>
          <p:cNvPr id="90" name="Straight Connector 89"/>
          <p:cNvCxnSpPr/>
          <p:nvPr/>
        </p:nvCxnSpPr>
        <p:spPr>
          <a:xfrm>
            <a:off x="8180735" y="3439485"/>
            <a:ext cx="0" cy="5555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8169774" y="3986328"/>
            <a:ext cx="11771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9346910" y="3975611"/>
            <a:ext cx="0" cy="2981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8774345" y="4273800"/>
            <a:ext cx="1651378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e parallel tests at scale 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8796581" y="4699810"/>
            <a:ext cx="16291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alable runtime system  in cloud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oss-Browser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ad &amp; Stress Test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ce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>
            <a:off x="8589613" y="3430731"/>
            <a:ext cx="0" cy="4233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8589613" y="3854033"/>
            <a:ext cx="25327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11122385" y="3854033"/>
            <a:ext cx="0" cy="2981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/>
          <p:cNvSpPr txBox="1"/>
          <p:nvPr/>
        </p:nvSpPr>
        <p:spPr>
          <a:xfrm>
            <a:off x="10518758" y="4209310"/>
            <a:ext cx="1651378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ed Insights for analysis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10540994" y="4635320"/>
            <a:ext cx="16291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 Warnings 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ot cause analysis</a:t>
            </a:r>
          </a:p>
        </p:txBody>
      </p:sp>
      <p:cxnSp>
        <p:nvCxnSpPr>
          <p:cNvPr id="101" name="Straight Connector 100"/>
          <p:cNvCxnSpPr/>
          <p:nvPr/>
        </p:nvCxnSpPr>
        <p:spPr>
          <a:xfrm>
            <a:off x="7133038" y="5623140"/>
            <a:ext cx="48669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6989807" y="5705025"/>
            <a:ext cx="4484644" cy="1117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iz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 Maintenance using AI+ML ,Computer Vis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f Heal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ing Application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a-Modeling, Statistical Models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 Selectors are Fingerprin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15B2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ual Template Recognition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What if the resolution changed? an object moved? Text changed</a:t>
            </a: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date multiple test cases with a single click for failure correction</a:t>
            </a: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e re-run in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ut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Oval Callout 102"/>
          <p:cNvSpPr/>
          <p:nvPr/>
        </p:nvSpPr>
        <p:spPr>
          <a:xfrm>
            <a:off x="9943651" y="1209173"/>
            <a:ext cx="2151876" cy="806118"/>
          </a:xfrm>
          <a:prstGeom prst="wedgeEllipseCallout">
            <a:avLst>
              <a:gd name="adj1" fmla="val -81009"/>
              <a:gd name="adj2" fmla="val 26428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 to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amazon.co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ck on button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</a:t>
            </a: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61184" y="495547"/>
            <a:ext cx="2475191" cy="530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256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PBDmaIsbfq3Bd5AXAbT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EGldl0Tm91i7GkevRw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nB0_lDXgbTJRPxjRhgD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63J7YYVYsjrGg1giN.D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B3IUQ6BkSiFJS3Lo_3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OrjoV7pzKjbvst9Fsrx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HSyScgSIQJvPa_JxFl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PBDmaIsbfq3Bd5AXAbT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mz7fBjrpkCRx9px4Ocx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_snZJAtZ1QYGbqaC8Wn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RdUfo.ZyuDjfCXYFGSY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GvCC54Wry2eZqzBO7eB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UDUAXJrrh3yrWgRxuil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B7nTS2bDtAgmLiIiNh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JEBy7YhK6SpDQ3_nYxO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HjMwY9RL2OiYlMdV7U5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1TAl3XD4P1yEnh_3fiD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SNLEljafjjuK3LmAiA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VDrDACWrP4oe_QJoIO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MzaemVgVLWs4og3JYW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mz7fBjrpkCRx9px4Oc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9xwJ9v0A1GyD9Glr_N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XEmAvqfaX0Qtw9gXQ7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5SicYhBrpIVq4GmVaI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ssugutj_jgZYqpSQMTa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9dbzhJsS1_3Nrp4P2Py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aHv6DkOZF8m6uGxCBII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87rtQuG8N5obCymbj_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k5ZujoxWv2ZuJKCBbLE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_snZJAtZ1QYGbqaC8Wn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LyMgS6nz0bahrrh_8KC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s_h4cfkvCYoTKfz_x4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mwF1ebF7V6W.y6wo.eG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L_waYKwx.lOFpoLdooB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fhxOF2fmzRqFKj64HB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eSmF5kAaE1gG8723kqi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nKW53DE94s4JWk9NsF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HDczL_U5o24wijvchsm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dM5wmk0FBO8587dY7h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Za7oLlFbcnnGhxRnfc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RdUfo.ZyuDjfCXYFGSY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1Bz.MRCMIGLQRqNvw0U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IzQmTMQDhnK_UtZjPDn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F5PuhLSpeHMdlCTYAoF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DUgpD7edI.BEAFbOCP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F6MkFgKt5Qh8DIIVomj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3Wj2jkRn.KNsVULZEkD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FyUi2qsySNrzEmdtmN6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EwZDGX1T0MEOhOYz1D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_FYLiNH_qTn9L40Igof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bqWxsJs2xfQ3lPTu95q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GvCC54Wry2eZqzBO7eB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EGldl0Tm91i7GkevRw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nB0_lDXgbTJRPxjRhgD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63J7YYVYsjrGg1giN.D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B3IUQ6BkSiFJS3Lo_3K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UDUAXJrrh3yrWgRxuil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OrjoV7pzKjbvst9Fsrx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HSyScgSIQJvPa_JxFlJ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PBDmaIsbfq3Bd5AXAbT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mz7fBjrpkCRx9px4Ocx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_snZJAtZ1QYGbqaC8Wn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B7nTS2bDtAgmLiIiNh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RdUfo.ZyuDjfCXYFGSY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GvCC54Wry2eZqzBO7eB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UDUAXJrrh3yrWgRxuil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B7nTS2bDtAgmLiIiNh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JEBy7YhK6SpDQ3_nYxO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HjMwY9RL2OiYlMdV7U5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1TAl3XD4P1yEnh_3fiD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SNLEljafjjuK3LmAiA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VDrDACWrP4oe_QJoIO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MzaemVgVLWs4og3JYW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JEBy7YhK6SpDQ3_nYxO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9xwJ9v0A1GyD9Glr_N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XEmAvqfaX0Qtw9gXQ7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5SicYhBrpIVq4GmVaI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ssugutj_jgZYqpSQMTa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9dbzhJsS1_3Nrp4P2Py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aHv6DkOZF8m6uGxCBII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87rtQuG8N5obCymbj_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k5ZujoxWv2ZuJKCBbLE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HjMwY9RL2OiYlMdV7U5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LyMgS6nz0bahrrh_8KC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s_h4cfkvCYoTKfz_x4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mwF1ebF7V6W.y6wo.eG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L_waYKwx.lOFpoLdooB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fhxOF2fmzRqFKj64HB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eSmF5kAaE1gG8723kqi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nKW53DE94s4JWk9NsF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HDczL_U5o24wijvchsm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dM5wmk0FBO8587dY7h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1TAl3XD4P1yEnh_3fiD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1Bz.MRCMIGLQRqNvw0U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IzQmTMQDhnK_UtZjPDn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F5PuhLSpeHMdlCTYAoF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DUgpD7edI.BEAFbOCP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F6MkFgKt5Qh8DIIVomj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3Wj2jkRn.KNsVULZEkD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FyUi2qsySNrzEmdtmN6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EwZDGX1T0MEOhOYz1D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_FYLiNH_qTn9L40Igof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bqWxsJs2xfQ3lPTu95q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SNLEljafjjuK3LmAiA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EGldl0Tm91i7GkevRw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nB0_lDXgbTJRPxjRhgD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63J7YYVYsjrGg1giN.D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B3IUQ6BkSiFJS3Lo_3K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VDrDACWrP4oe_QJoIO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MzaemVgVLWs4og3JYW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9xwJ9v0A1GyD9Glr_N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XEmAvqfaX0Qtw9gXQ7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5SicYhBrpIVq4GmVaI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OrjoV7pzKjbvst9Fsrx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HSyScgSIQJvPa_JxFlJ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PBDmaIsbfq3Bd5AXAbT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mz7fBjrpkCRx9px4Ocx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ssugutj_jgZYqpSQMTa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_snZJAtZ1QYGbqaC8Wn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RdUfo.ZyuDjfCXYFGSY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GvCC54Wry2eZqzBO7eB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UDUAXJrrh3yrWgRxuil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B7nTS2bDtAgmLiIiNh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JEBy7YhK6SpDQ3_nYxO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HjMwY9RL2OiYlMdV7U5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1TAl3XD4P1yEnh_3fiD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SNLEljafjjuK3LmAiA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VDrDACWrP4oe_QJoIO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9dbzhJsS1_3Nrp4P2Py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MzaemVgVLWs4og3JYW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9xwJ9v0A1GyD9Glr_N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XEmAvqfaX0Qtw9gXQ7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5SicYhBrpIVq4GmVaI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ssugutj_jgZYqpSQMTa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9dbzhJsS1_3Nrp4P2Py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aHv6DkOZF8m6uGxCBII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87rtQuG8N5obCymbj_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k5ZujoxWv2ZuJKCBbLE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aHv6DkOZF8m6uGxCBII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LyMgS6nz0bahrrh_8KC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s_h4cfkvCYoTKfz_x4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mwF1ebF7V6W.y6wo.eG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L_waYKwx.lOFpoLdooB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fhxOF2fmzRqFKj64HB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eSmF5kAaE1gG8723kqi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nKW53DE94s4JWk9NsF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HDczL_U5o24wijvchsm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87rtQuG8N5obCymbj_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dM5wmk0FBO8587dY7h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1Bz.MRCMIGLQRqNvw0U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IzQmTMQDhnK_UtZjPDn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F5PuhLSpeHMdlCTYAoF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DUgpD7edI.BEAFbOCP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F6MkFgKt5Qh8DIIVomj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3Wj2jkRn.KNsVULZEkD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FyUi2qsySNrzEmdtmN6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EwZDGX1T0MEOhOYz1D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_FYLiNH_qTn9L40Igof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bqWxsJs2xfQ3lPTu95q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EGldl0Tm91i7GkevRw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nB0_lDXgbTJRPxjRhgD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63J7YYVYsjrGg1giN.D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B3IUQ6BkSiFJS3Lo_3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k5ZujoxWv2ZuJKCBbLE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OrjoV7pzKjbvst9Fsrx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HSyScgSIQJvPa_JxFlJ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PBDmaIsbfq3Bd5AXAbT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mz7fBjrpkCRx9px4Ocx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_snZJAtZ1QYGbqaC8Wn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RdUfo.ZyuDjfCXYFGSY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GvCC54Wry2eZqzBO7eB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UDUAXJrrh3yrWgRxuil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B7nTS2bDtAgmLiIiNh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JEBy7YhK6SpDQ3_nYxO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HjMwY9RL2OiYlMdV7U5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1TAl3XD4P1yEnh_3fiD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SNLEljafjjuK3LmAiA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OrjoV7pzKjbvst9Fsrx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VDrDACWrP4oe_QJoIO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MzaemVgVLWs4og3JYW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9xwJ9v0A1GyD9Glr_N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XEmAvqfaX0Qtw9gXQ7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5SicYhBrpIVq4GmVaI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ssugutj_jgZYqpSQMTa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9dbzhJsS1_3Nrp4P2Py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aHv6DkOZF8m6uGxCBII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87rtQuG8N5obCymbj_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k5ZujoxWv2ZuJKCBbL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LyMgS6nz0bahrrh_8KC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LyMgS6nz0bahrrh_8KC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s_h4cfkvCYoTKfz_x4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mwF1ebF7V6W.y6wo.eG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L_waYKwx.lOFpoLdooB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fhxOF2fmzRqFKj64HB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eSmF5kAaE1gG8723kqi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nKW53DE94s4JWk9NsF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s_h4cfkvCYoTKfz_x4g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HDczL_U5o24wijvchsm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dM5wmk0FBO8587dY7h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1Bz.MRCMIGLQRqNvw0U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IzQmTMQDhnK_UtZjPDn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F5PuhLSpeHMdlCTYAoF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DUgpD7edI.BEAFbOCP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F6MkFgKt5Qh8DIIVomj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3Wj2jkRn.KNsVULZEkD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FyUi2qsySNrzEmdtmN6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EwZDGX1T0MEOhOYz1D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mwF1ebF7V6W.y6wo.eG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_FYLiNH_qTn9L40Igof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bqWxsJs2xfQ3lPTu95q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EGldl0Tm91i7GkevRw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nB0_lDXgbTJRPxjRhgD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63J7YYVYsjrGg1giN.D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B3IUQ6BkSiFJS3Lo_3K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L_waYKwx.lOFpoLdooB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Fea1_QSiCW1yQfQh3m1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fJ4RExcrth_c6p1T_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fhxOF2fmzRqFKj64H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eSmF5kAaE1gG8723kqi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nKW53DE94s4JWk9NsF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HDczL_U5o24wijvchsm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dM5wmk0FBO8587dY7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HSyScgSIQJvPa_JxFlJ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1Bz.MRCMIGLQRqNvw0U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IzQmTMQDhnK_UtZjPD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F5PuhLSpeHMdlCTYAoF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DUgpD7edI.BEAFbOCP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F6MkFgKt5Qh8DIIVom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3Wj2jkRn.KNsVULZEkD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FyUi2qsySNrzEmdtmN6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EwZDGX1T0MEOhOYz1D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_FYLiNH_qTn9L40Igof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bqWxsJs2xfQ3lPTu95q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GT">
      <a:dk1>
        <a:srgbClr val="414042"/>
      </a:dk1>
      <a:lt1>
        <a:sysClr val="window" lastClr="FFFFFF"/>
      </a:lt1>
      <a:dk2>
        <a:srgbClr val="F15B2A"/>
      </a:dk2>
      <a:lt2>
        <a:srgbClr val="FFFFFF"/>
      </a:lt2>
      <a:accent1>
        <a:srgbClr val="1F468D"/>
      </a:accent1>
      <a:accent2>
        <a:srgbClr val="C7C8CA"/>
      </a:accent2>
      <a:accent3>
        <a:srgbClr val="F15B2A"/>
      </a:accent3>
      <a:accent4>
        <a:srgbClr val="42C6EC"/>
      </a:accent4>
      <a:accent5>
        <a:srgbClr val="8DC63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CA6726FD-6A15-40C6-8486-0E3881F51FDF}" vid="{421E74DA-452C-4394-AB3C-02B63CD7D9D4}"/>
    </a:ext>
  </a:extLst>
</a:theme>
</file>

<file path=ppt/theme/theme2.xml><?xml version="1.0" encoding="utf-8"?>
<a:theme xmlns:a="http://schemas.openxmlformats.org/drawingml/2006/main" name="2_BCG Grid 16:9">
  <a:themeElements>
    <a:clrScheme name="IGT">
      <a:dk1>
        <a:srgbClr val="414042"/>
      </a:dk1>
      <a:lt1>
        <a:sysClr val="window" lastClr="FFFFFF"/>
      </a:lt1>
      <a:dk2>
        <a:srgbClr val="21448E"/>
      </a:dk2>
      <a:lt2>
        <a:srgbClr val="F2F2F2"/>
      </a:lt2>
      <a:accent1>
        <a:srgbClr val="132651"/>
      </a:accent1>
      <a:accent2>
        <a:srgbClr val="1B3777"/>
      </a:accent2>
      <a:accent3>
        <a:srgbClr val="D4DF33"/>
      </a:accent3>
      <a:accent4>
        <a:srgbClr val="3E6CD2"/>
      </a:accent4>
      <a:accent5>
        <a:srgbClr val="C7C8CA"/>
      </a:accent5>
      <a:accent6>
        <a:srgbClr val="F05A28"/>
      </a:accent6>
      <a:hlink>
        <a:srgbClr val="2E3558"/>
      </a:hlink>
      <a:folHlink>
        <a:srgbClr val="2E3558"/>
      </a:folHlink>
    </a:clrScheme>
    <a:fontScheme name="IG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_BCG Grid 16:9">
  <a:themeElements>
    <a:clrScheme name="IGT">
      <a:dk1>
        <a:srgbClr val="414042"/>
      </a:dk1>
      <a:lt1>
        <a:sysClr val="window" lastClr="FFFFFF"/>
      </a:lt1>
      <a:dk2>
        <a:srgbClr val="21448E"/>
      </a:dk2>
      <a:lt2>
        <a:srgbClr val="F2F2F2"/>
      </a:lt2>
      <a:accent1>
        <a:srgbClr val="132651"/>
      </a:accent1>
      <a:accent2>
        <a:srgbClr val="1B3777"/>
      </a:accent2>
      <a:accent3>
        <a:srgbClr val="D4DF33"/>
      </a:accent3>
      <a:accent4>
        <a:srgbClr val="3E6CD2"/>
      </a:accent4>
      <a:accent5>
        <a:srgbClr val="C7C8CA"/>
      </a:accent5>
      <a:accent6>
        <a:srgbClr val="F05A28"/>
      </a:accent6>
      <a:hlink>
        <a:srgbClr val="2E3558"/>
      </a:hlink>
      <a:folHlink>
        <a:srgbClr val="2E3558"/>
      </a:folHlink>
    </a:clrScheme>
    <a:fontScheme name="IG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3_BCG Grid 16:9">
  <a:themeElements>
    <a:clrScheme name="IGT">
      <a:dk1>
        <a:srgbClr val="414042"/>
      </a:dk1>
      <a:lt1>
        <a:sysClr val="window" lastClr="FFFFFF"/>
      </a:lt1>
      <a:dk2>
        <a:srgbClr val="21448E"/>
      </a:dk2>
      <a:lt2>
        <a:srgbClr val="F2F2F2"/>
      </a:lt2>
      <a:accent1>
        <a:srgbClr val="132651"/>
      </a:accent1>
      <a:accent2>
        <a:srgbClr val="1B3777"/>
      </a:accent2>
      <a:accent3>
        <a:srgbClr val="D4DF33"/>
      </a:accent3>
      <a:accent4>
        <a:srgbClr val="3E6CD2"/>
      </a:accent4>
      <a:accent5>
        <a:srgbClr val="C7C8CA"/>
      </a:accent5>
      <a:accent6>
        <a:srgbClr val="F05A28"/>
      </a:accent6>
      <a:hlink>
        <a:srgbClr val="2E3558"/>
      </a:hlink>
      <a:folHlink>
        <a:srgbClr val="2E3558"/>
      </a:folHlink>
    </a:clrScheme>
    <a:fontScheme name="IG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13_BCG Grid 16:9">
  <a:themeElements>
    <a:clrScheme name="IGT">
      <a:dk1>
        <a:srgbClr val="414042"/>
      </a:dk1>
      <a:lt1>
        <a:sysClr val="window" lastClr="FFFFFF"/>
      </a:lt1>
      <a:dk2>
        <a:srgbClr val="21448E"/>
      </a:dk2>
      <a:lt2>
        <a:srgbClr val="F2F2F2"/>
      </a:lt2>
      <a:accent1>
        <a:srgbClr val="132651"/>
      </a:accent1>
      <a:accent2>
        <a:srgbClr val="1B3777"/>
      </a:accent2>
      <a:accent3>
        <a:srgbClr val="D4DF33"/>
      </a:accent3>
      <a:accent4>
        <a:srgbClr val="3E6CD2"/>
      </a:accent4>
      <a:accent5>
        <a:srgbClr val="C7C8CA"/>
      </a:accent5>
      <a:accent6>
        <a:srgbClr val="F05A28"/>
      </a:accent6>
      <a:hlink>
        <a:srgbClr val="2E3558"/>
      </a:hlink>
      <a:folHlink>
        <a:srgbClr val="2E3558"/>
      </a:folHlink>
    </a:clrScheme>
    <a:fontScheme name="IG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4_BCG Grid 16:9">
  <a:themeElements>
    <a:clrScheme name="IGT">
      <a:dk1>
        <a:srgbClr val="414042"/>
      </a:dk1>
      <a:lt1>
        <a:sysClr val="window" lastClr="FFFFFF"/>
      </a:lt1>
      <a:dk2>
        <a:srgbClr val="21448E"/>
      </a:dk2>
      <a:lt2>
        <a:srgbClr val="F2F2F2"/>
      </a:lt2>
      <a:accent1>
        <a:srgbClr val="132651"/>
      </a:accent1>
      <a:accent2>
        <a:srgbClr val="1B3777"/>
      </a:accent2>
      <a:accent3>
        <a:srgbClr val="D4DF33"/>
      </a:accent3>
      <a:accent4>
        <a:srgbClr val="3E6CD2"/>
      </a:accent4>
      <a:accent5>
        <a:srgbClr val="C7C8CA"/>
      </a:accent5>
      <a:accent6>
        <a:srgbClr val="F05A28"/>
      </a:accent6>
      <a:hlink>
        <a:srgbClr val="2E3558"/>
      </a:hlink>
      <a:folHlink>
        <a:srgbClr val="2E3558"/>
      </a:folHlink>
    </a:clrScheme>
    <a:fontScheme name="IG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5_BCG Grid 16:9">
  <a:themeElements>
    <a:clrScheme name="IGT">
      <a:dk1>
        <a:srgbClr val="414042"/>
      </a:dk1>
      <a:lt1>
        <a:sysClr val="window" lastClr="FFFFFF"/>
      </a:lt1>
      <a:dk2>
        <a:srgbClr val="21448E"/>
      </a:dk2>
      <a:lt2>
        <a:srgbClr val="F2F2F2"/>
      </a:lt2>
      <a:accent1>
        <a:srgbClr val="132651"/>
      </a:accent1>
      <a:accent2>
        <a:srgbClr val="1B3777"/>
      </a:accent2>
      <a:accent3>
        <a:srgbClr val="D4DF33"/>
      </a:accent3>
      <a:accent4>
        <a:srgbClr val="3E6CD2"/>
      </a:accent4>
      <a:accent5>
        <a:srgbClr val="C7C8CA"/>
      </a:accent5>
      <a:accent6>
        <a:srgbClr val="F05A28"/>
      </a:accent6>
      <a:hlink>
        <a:srgbClr val="2E3558"/>
      </a:hlink>
      <a:folHlink>
        <a:srgbClr val="2E3558"/>
      </a:folHlink>
    </a:clrScheme>
    <a:fontScheme name="IG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8.xml><?xml version="1.0" encoding="utf-8"?>
<a:theme xmlns:a="http://schemas.openxmlformats.org/drawingml/2006/main" name="2_Office Theme">
  <a:themeElements>
    <a:clrScheme name="IGT">
      <a:dk1>
        <a:srgbClr val="414042"/>
      </a:dk1>
      <a:lt1>
        <a:sysClr val="window" lastClr="FFFFFF"/>
      </a:lt1>
      <a:dk2>
        <a:srgbClr val="F15B2A"/>
      </a:dk2>
      <a:lt2>
        <a:srgbClr val="FFFFFF"/>
      </a:lt2>
      <a:accent1>
        <a:srgbClr val="1F468D"/>
      </a:accent1>
      <a:accent2>
        <a:srgbClr val="C7C8CA"/>
      </a:accent2>
      <a:accent3>
        <a:srgbClr val="F15B2A"/>
      </a:accent3>
      <a:accent4>
        <a:srgbClr val="42C6EC"/>
      </a:accent4>
      <a:accent5>
        <a:srgbClr val="8DC63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CA6726FD-6A15-40C6-8486-0E3881F51FDF}" vid="{421E74DA-452C-4394-AB3C-02B63CD7D9D4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0F035B79663948B5384D8BEDAA92AD" ma:contentTypeVersion="12" ma:contentTypeDescription="Create a new document." ma:contentTypeScope="" ma:versionID="b688337c44a69e1863dd4194b26c4345">
  <xsd:schema xmlns:xsd="http://www.w3.org/2001/XMLSchema" xmlns:xs="http://www.w3.org/2001/XMLSchema" xmlns:p="http://schemas.microsoft.com/office/2006/metadata/properties" xmlns:ns2="cb94486a-6426-435c-8a04-693e22cccc7e" xmlns:ns3="bfa5981e-efe4-4603-93e0-a191572dcb7c" targetNamespace="http://schemas.microsoft.com/office/2006/metadata/properties" ma:root="true" ma:fieldsID="9cac8bc7e10924e7a3b7d7b581833eae" ns2:_="" ns3:_="">
    <xsd:import namespace="cb94486a-6426-435c-8a04-693e22cccc7e"/>
    <xsd:import namespace="bfa5981e-efe4-4603-93e0-a191572dcb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94486a-6426-435c-8a04-693e22cccc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_Flow_SignoffStatus" ma:index="19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a5981e-efe4-4603-93e0-a191572dcb7c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b94486a-6426-435c-8a04-693e22cccc7e" xsi:nil="true"/>
  </documentManagement>
</p:properties>
</file>

<file path=customXml/itemProps1.xml><?xml version="1.0" encoding="utf-8"?>
<ds:datastoreItem xmlns:ds="http://schemas.openxmlformats.org/officeDocument/2006/customXml" ds:itemID="{2354DAF8-CA38-42AC-BB6C-9CBC62CDB7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94486a-6426-435c-8a04-693e22cccc7e"/>
    <ds:schemaRef ds:uri="bfa5981e-efe4-4603-93e0-a191572dcb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AAFDBB8-CB19-4806-94E1-AD2FAC51B73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28D684A-02F7-4E23-8E6D-EA3A0E50CBCA}">
  <ds:schemaRefs>
    <ds:schemaRef ds:uri="http://www.w3.org/XML/1998/namespace"/>
    <ds:schemaRef ds:uri="cb94486a-6426-435c-8a04-693e22cccc7e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bfa5981e-efe4-4603-93e0-a191572dcb7c"/>
    <ds:schemaRef ds:uri="http://schemas.microsoft.com/office/infopath/2007/PartnerControls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GT PPT Template 1_20200806_v1.0</Template>
  <TotalTime>20627</TotalTime>
  <Words>1983</Words>
  <Application>Microsoft Office PowerPoint</Application>
  <PresentationFormat>Widescreen</PresentationFormat>
  <Paragraphs>480</Paragraphs>
  <Slides>2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9" baseType="lpstr">
      <vt:lpstr>Arial</vt:lpstr>
      <vt:lpstr>Bahnschrift</vt:lpstr>
      <vt:lpstr>Bahnschrift Condensed</vt:lpstr>
      <vt:lpstr>Calibri</vt:lpstr>
      <vt:lpstr>Calibri Light</vt:lpstr>
      <vt:lpstr>Century Gothic</vt:lpstr>
      <vt:lpstr>DaunPenh</vt:lpstr>
      <vt:lpstr>Tahoma</vt:lpstr>
      <vt:lpstr>Trebuchet MS</vt:lpstr>
      <vt:lpstr>Wingdings</vt:lpstr>
      <vt:lpstr>Office Theme</vt:lpstr>
      <vt:lpstr>2_BCG Grid 16:9</vt:lpstr>
      <vt:lpstr>1_BCG Grid 16:9</vt:lpstr>
      <vt:lpstr>3_BCG Grid 16:9</vt:lpstr>
      <vt:lpstr>13_BCG Grid 16:9</vt:lpstr>
      <vt:lpstr>4_BCG Grid 16:9</vt:lpstr>
      <vt:lpstr>5_BCG Grid 16:9</vt:lpstr>
      <vt:lpstr>2_Office Theme</vt:lpstr>
      <vt:lpstr>think-cell Slide</vt:lpstr>
      <vt:lpstr>Overview IGT Solutions Risk Assurance and QE Capabilities</vt:lpstr>
      <vt:lpstr>Who We Are</vt:lpstr>
      <vt:lpstr> Proud partner for leading global organizations…</vt:lpstr>
      <vt:lpstr>Risk Assurance and  Quality Engineering Capabilities</vt:lpstr>
      <vt:lpstr>QE and Testing as Risk Management Tool</vt:lpstr>
      <vt:lpstr>IGT QE Offerings and Pre-Built Frameworks</vt:lpstr>
      <vt:lpstr>We can be your Quality Engineering &amp; Testing partner…. </vt:lpstr>
      <vt:lpstr>Transform from verification &amp; validation….                  …towards  Quality Engineering</vt:lpstr>
      <vt:lpstr>From Automation Scripts to Advanced Automation</vt:lpstr>
      <vt:lpstr>Cloud Testing Capabilities</vt:lpstr>
      <vt:lpstr>Our Cloud Testing Capability</vt:lpstr>
      <vt:lpstr>Intelligent Cloud Testing Solutions </vt:lpstr>
      <vt:lpstr>IGT Cloud Testing Lab</vt:lpstr>
      <vt:lpstr>Our Alliances and Partners</vt:lpstr>
      <vt:lpstr>We support multiple Engagement Models basis your business needs</vt:lpstr>
      <vt:lpstr>IGT Quality Engineering - Delivery &amp; Pricing Models Bouquet</vt:lpstr>
      <vt:lpstr>PowerPoint Presentation</vt:lpstr>
      <vt:lpstr>Key Engagements</vt:lpstr>
      <vt:lpstr>Serving Customers Across the Globe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loring Business Synergy</dc:title>
  <dc:creator>Navin Jacob</dc:creator>
  <cp:lastModifiedBy>Sheetal Rastogi</cp:lastModifiedBy>
  <cp:revision>621</cp:revision>
  <dcterms:created xsi:type="dcterms:W3CDTF">2020-06-29T13:04:40Z</dcterms:created>
  <dcterms:modified xsi:type="dcterms:W3CDTF">2021-08-30T18:1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0F035B79663948B5384D8BEDAA92AD</vt:lpwstr>
  </property>
</Properties>
</file>